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7" r:id="rId4"/>
    <p:sldMasterId id="2147483648" r:id="rId5"/>
  </p:sldMasterIdLst>
  <p:notesMasterIdLst>
    <p:notesMasterId r:id="rId39"/>
  </p:notesMasterIdLst>
  <p:handoutMasterIdLst>
    <p:handoutMasterId r:id="rId40"/>
  </p:handoutMasterIdLst>
  <p:sldIdLst>
    <p:sldId id="288" r:id="rId6"/>
    <p:sldId id="273" r:id="rId7"/>
    <p:sldId id="275" r:id="rId8"/>
    <p:sldId id="282" r:id="rId9"/>
    <p:sldId id="289" r:id="rId10"/>
    <p:sldId id="290" r:id="rId11"/>
    <p:sldId id="308" r:id="rId12"/>
    <p:sldId id="261" r:id="rId13"/>
    <p:sldId id="307" r:id="rId14"/>
    <p:sldId id="259" r:id="rId15"/>
    <p:sldId id="281" r:id="rId16"/>
    <p:sldId id="306" r:id="rId17"/>
    <p:sldId id="311" r:id="rId18"/>
    <p:sldId id="305" r:id="rId19"/>
    <p:sldId id="291" r:id="rId20"/>
    <p:sldId id="309" r:id="rId21"/>
    <p:sldId id="287" r:id="rId22"/>
    <p:sldId id="283" r:id="rId23"/>
    <p:sldId id="302" r:id="rId24"/>
    <p:sldId id="293" r:id="rId25"/>
    <p:sldId id="295" r:id="rId26"/>
    <p:sldId id="292" r:id="rId27"/>
    <p:sldId id="294" r:id="rId28"/>
    <p:sldId id="310" r:id="rId29"/>
    <p:sldId id="277" r:id="rId30"/>
    <p:sldId id="312" r:id="rId31"/>
    <p:sldId id="298" r:id="rId32"/>
    <p:sldId id="303" r:id="rId33"/>
    <p:sldId id="299" r:id="rId34"/>
    <p:sldId id="300" r:id="rId35"/>
    <p:sldId id="301" r:id="rId36"/>
    <p:sldId id="297" r:id="rId37"/>
    <p:sldId id="278" r:id="rId3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7BA3255-3DC4-4232-9BE6-4A8B76A90A87}" v="131" dt="2024-12-03T20:28:48.721"/>
    <p1510:client id="{08E4F9C2-E30A-46E4-8730-3C8EDB324969}" v="190" dt="2024-12-04T21:14:10.770"/>
    <p1510:client id="{099CB824-9DCC-4F75-9E33-B42131F6DA24}" v="72" dt="2024-12-04T15:54:19.910"/>
    <p1510:client id="{20D026BC-A1B5-46E1-8D39-3EC12D3531ED}" v="222" dt="2024-12-04T03:53:23.477"/>
    <p1510:client id="{3053F144-BE74-494F-8C38-E5BABD0E5DF5}" v="246" dt="2024-12-04T16:41:06.655"/>
    <p1510:client id="{38DB9C13-DD96-4324-9753-79D16F71596E}" v="441" dt="2024-12-04T02:52:04.505"/>
    <p1510:client id="{41B0AC47-6A6B-4F2C-882B-D06F82C1B4A3}" v="440" dt="2024-12-04T05:03:11.775"/>
    <p1510:client id="{49D974D7-29E3-49FA-B6F8-323D1B871B90}" v="124" dt="2024-12-04T17:42:34.458"/>
    <p1510:client id="{5ED6C6D7-DC6C-4938-B67F-FE1A8B92B48B}" v="4" dt="2024-12-05T01:58:40.852"/>
    <p1510:client id="{60017DF5-FD62-4D10-A46D-E7C021078138}" v="2336" dt="2024-12-04T03:08:11.905"/>
    <p1510:client id="{7888F48E-4109-41EF-8A32-8DAC485C3AF3}" v="135" dt="2024-12-04T03:03:13.903"/>
    <p1510:client id="{992680C1-4243-4F73-A67C-8124A9DE58F0}" v="332" dt="2024-12-04T02:52:33.929"/>
    <p1510:client id="{9D3499D3-5646-467A-94F0-5EEB266B2AA0}" v="131" dt="2024-12-04T22:23:29.714"/>
    <p1510:client id="{C12190F9-BA27-48FB-9109-155C5B5DEF45}" v="5" dt="2024-12-04T01:28:51.897"/>
  </p1510:revLst>
</p1510:revInfo>
</file>

<file path=ppt/tableStyles.xml><?xml version="1.0" encoding="utf-8"?>
<a:tblStyleLst xmlns:a="http://schemas.openxmlformats.org/drawingml/2006/main" def="{912C8C85-51F0-491E-9774-3900AFEF0FD7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2160"/>
        <p:guide pos="3840"/>
      </p:guideLst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viewProps" Target="viewProps.xml"/><Relationship Id="rId47" Type="http://schemas.microsoft.com/office/2018/10/relationships/authors" Target="author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handoutMaster" Target="handoutMasters/handoutMaster1.xml"/><Relationship Id="rId45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theme" Target="theme/theme1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microsoft.com/office/2015/10/relationships/revisionInfo" Target="revisionInfo.xml"/><Relationship Id="rId20" Type="http://schemas.openxmlformats.org/officeDocument/2006/relationships/slide" Target="slides/slide15.xml"/><Relationship Id="rId41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hu Khue Nguyen Khac" userId="41zJ1LbGwkbEWFDME36H2XxhIovitOD4RY0J19yumig=" providerId="None" clId="Web-{C12190F9-BA27-48FB-9109-155C5B5DEF45}"/>
    <pc:docChg chg="modSld">
      <pc:chgData name="Nhu Khue Nguyen Khac" userId="41zJ1LbGwkbEWFDME36H2XxhIovitOD4RY0J19yumig=" providerId="None" clId="Web-{C12190F9-BA27-48FB-9109-155C5B5DEF45}" dt="2024-12-04T01:28:51.897" v="4" actId="14100"/>
      <pc:docMkLst>
        <pc:docMk/>
      </pc:docMkLst>
      <pc:sldChg chg="modSp">
        <pc:chgData name="Nhu Khue Nguyen Khac" userId="41zJ1LbGwkbEWFDME36H2XxhIovitOD4RY0J19yumig=" providerId="None" clId="Web-{C12190F9-BA27-48FB-9109-155C5B5DEF45}" dt="2024-12-04T01:28:51.897" v="4" actId="14100"/>
        <pc:sldMkLst>
          <pc:docMk/>
          <pc:sldMk cId="3221568206" sldId="295"/>
        </pc:sldMkLst>
        <pc:spChg chg="mod">
          <ac:chgData name="Nhu Khue Nguyen Khac" userId="41zJ1LbGwkbEWFDME36H2XxhIovitOD4RY0J19yumig=" providerId="None" clId="Web-{C12190F9-BA27-48FB-9109-155C5B5DEF45}" dt="2024-12-04T01:28:51.897" v="4" actId="14100"/>
          <ac:spMkLst>
            <pc:docMk/>
            <pc:sldMk cId="3221568206" sldId="295"/>
            <ac:spMk id="2" creationId="{22117B13-83C3-73CE-255E-24EC53D997B7}"/>
          </ac:spMkLst>
        </pc:spChg>
        <pc:spChg chg="mod">
          <ac:chgData name="Nhu Khue Nguyen Khac" userId="41zJ1LbGwkbEWFDME36H2XxhIovitOD4RY0J19yumig=" providerId="None" clId="Web-{C12190F9-BA27-48FB-9109-155C5B5DEF45}" dt="2024-12-04T01:28:35.162" v="3" actId="14100"/>
          <ac:spMkLst>
            <pc:docMk/>
            <pc:sldMk cId="3221568206" sldId="295"/>
            <ac:spMk id="4" creationId="{250D4176-7766-ED3A-4BEB-AD358FD4CA65}"/>
          </ac:spMkLst>
        </pc:spChg>
        <pc:picChg chg="mod">
          <ac:chgData name="Nhu Khue Nguyen Khac" userId="41zJ1LbGwkbEWFDME36H2XxhIovitOD4RY0J19yumig=" providerId="None" clId="Web-{C12190F9-BA27-48FB-9109-155C5B5DEF45}" dt="2024-12-04T01:28:23.473" v="1" actId="1076"/>
          <ac:picMkLst>
            <pc:docMk/>
            <pc:sldMk cId="3221568206" sldId="295"/>
            <ac:picMk id="5" creationId="{70A797EC-B211-50B9-4D05-A2E838F203FE}"/>
          </ac:picMkLst>
        </pc:picChg>
      </pc:sldChg>
    </pc:docChg>
  </pc:docChgLst>
  <pc:docChgLst>
    <pc:chgData name="Dave Widjaja" userId="a08tb1uajV3QCZIKJatmZeWgz2nyYt4/gsvCOJVxPUQ=" providerId="None" clId="Web-{099CB824-9DCC-4F75-9E33-B42131F6DA24}"/>
    <pc:docChg chg="modSld">
      <pc:chgData name="Dave Widjaja" userId="a08tb1uajV3QCZIKJatmZeWgz2nyYt4/gsvCOJVxPUQ=" providerId="None" clId="Web-{099CB824-9DCC-4F75-9E33-B42131F6DA24}" dt="2024-12-04T15:54:19.910" v="69" actId="20577"/>
      <pc:docMkLst>
        <pc:docMk/>
      </pc:docMkLst>
      <pc:sldChg chg="modSp">
        <pc:chgData name="Dave Widjaja" userId="a08tb1uajV3QCZIKJatmZeWgz2nyYt4/gsvCOJVxPUQ=" providerId="None" clId="Web-{099CB824-9DCC-4F75-9E33-B42131F6DA24}" dt="2024-12-04T15:54:19.910" v="69" actId="20577"/>
        <pc:sldMkLst>
          <pc:docMk/>
          <pc:sldMk cId="2537578723" sldId="297"/>
        </pc:sldMkLst>
        <pc:spChg chg="mod">
          <ac:chgData name="Dave Widjaja" userId="a08tb1uajV3QCZIKJatmZeWgz2nyYt4/gsvCOJVxPUQ=" providerId="None" clId="Web-{099CB824-9DCC-4F75-9E33-B42131F6DA24}" dt="2024-12-04T15:54:19.910" v="69" actId="20577"/>
          <ac:spMkLst>
            <pc:docMk/>
            <pc:sldMk cId="2537578723" sldId="297"/>
            <ac:spMk id="3" creationId="{05948542-FCE1-3AE6-C6C9-17975609DF70}"/>
          </ac:spMkLst>
        </pc:spChg>
      </pc:sldChg>
      <pc:sldChg chg="modSp">
        <pc:chgData name="Dave Widjaja" userId="a08tb1uajV3QCZIKJatmZeWgz2nyYt4/gsvCOJVxPUQ=" providerId="None" clId="Web-{099CB824-9DCC-4F75-9E33-B42131F6DA24}" dt="2024-12-04T15:53:59.628" v="39" actId="20577"/>
        <pc:sldMkLst>
          <pc:docMk/>
          <pc:sldMk cId="2444171830" sldId="301"/>
        </pc:sldMkLst>
        <pc:spChg chg="mod">
          <ac:chgData name="Dave Widjaja" userId="a08tb1uajV3QCZIKJatmZeWgz2nyYt4/gsvCOJVxPUQ=" providerId="None" clId="Web-{099CB824-9DCC-4F75-9E33-B42131F6DA24}" dt="2024-12-04T15:53:59.628" v="39" actId="20577"/>
          <ac:spMkLst>
            <pc:docMk/>
            <pc:sldMk cId="2444171830" sldId="301"/>
            <ac:spMk id="3" creationId="{8D2BA737-60F8-41C7-197E-65D6FD780CEE}"/>
          </ac:spMkLst>
        </pc:spChg>
      </pc:sldChg>
    </pc:docChg>
  </pc:docChgLst>
  <pc:docChgLst>
    <pc:chgData name="Keerthanaa Ellur" userId="HfJ8EJpDfgrSV90cSgllV5GQzfXBqfxi/KUCrcqhIoA=" providerId="None" clId="Web-{07BA3255-3DC4-4232-9BE6-4A8B76A90A87}"/>
    <pc:docChg chg="addSld delSld modSld sldOrd">
      <pc:chgData name="Keerthanaa Ellur" userId="HfJ8EJpDfgrSV90cSgllV5GQzfXBqfxi/KUCrcqhIoA=" providerId="None" clId="Web-{07BA3255-3DC4-4232-9BE6-4A8B76A90A87}" dt="2024-12-03T20:28:48.721" v="132" actId="20577"/>
      <pc:docMkLst>
        <pc:docMk/>
      </pc:docMkLst>
      <pc:sldChg chg="delSp modSp mod modClrScheme chgLayout">
        <pc:chgData name="Keerthanaa Ellur" userId="HfJ8EJpDfgrSV90cSgllV5GQzfXBqfxi/KUCrcqhIoA=" providerId="None" clId="Web-{07BA3255-3DC4-4232-9BE6-4A8B76A90A87}" dt="2024-12-03T20:17:19.313" v="23" actId="20577"/>
        <pc:sldMkLst>
          <pc:docMk/>
          <pc:sldMk cId="1994246962" sldId="277"/>
        </pc:sldMkLst>
        <pc:spChg chg="mod ord">
          <ac:chgData name="Keerthanaa Ellur" userId="HfJ8EJpDfgrSV90cSgllV5GQzfXBqfxi/KUCrcqhIoA=" providerId="None" clId="Web-{07BA3255-3DC4-4232-9BE6-4A8B76A90A87}" dt="2024-12-03T20:16:47.092" v="17" actId="20577"/>
          <ac:spMkLst>
            <pc:docMk/>
            <pc:sldMk cId="1994246962" sldId="277"/>
            <ac:spMk id="2" creationId="{5D030A76-B788-B363-104E-266B7C7F7208}"/>
          </ac:spMkLst>
        </pc:spChg>
        <pc:spChg chg="mod ord">
          <ac:chgData name="Keerthanaa Ellur" userId="HfJ8EJpDfgrSV90cSgllV5GQzfXBqfxi/KUCrcqhIoA=" providerId="None" clId="Web-{07BA3255-3DC4-4232-9BE6-4A8B76A90A87}" dt="2024-12-03T20:17:19.313" v="23" actId="20577"/>
          <ac:spMkLst>
            <pc:docMk/>
            <pc:sldMk cId="1994246962" sldId="277"/>
            <ac:spMk id="3" creationId="{05948542-FCE1-3AE6-C6C9-17975609DF70}"/>
          </ac:spMkLst>
        </pc:spChg>
        <pc:spChg chg="del mod ord">
          <ac:chgData name="Keerthanaa Ellur" userId="HfJ8EJpDfgrSV90cSgllV5GQzfXBqfxi/KUCrcqhIoA=" providerId="None" clId="Web-{07BA3255-3DC4-4232-9BE6-4A8B76A90A87}" dt="2024-12-03T20:16:29.465" v="10"/>
          <ac:spMkLst>
            <pc:docMk/>
            <pc:sldMk cId="1994246962" sldId="277"/>
            <ac:spMk id="4" creationId="{3EE67564-0457-E486-97D0-8109D2C97B3F}"/>
          </ac:spMkLst>
        </pc:spChg>
      </pc:sldChg>
      <pc:sldChg chg="add del replId">
        <pc:chgData name="Keerthanaa Ellur" userId="HfJ8EJpDfgrSV90cSgllV5GQzfXBqfxi/KUCrcqhIoA=" providerId="None" clId="Web-{07BA3255-3DC4-4232-9BE6-4A8B76A90A87}" dt="2024-12-03T20:18:56.069" v="24"/>
        <pc:sldMkLst>
          <pc:docMk/>
          <pc:sldMk cId="506259690" sldId="296"/>
        </pc:sldMkLst>
      </pc:sldChg>
      <pc:sldChg chg="modSp add replId">
        <pc:chgData name="Keerthanaa Ellur" userId="HfJ8EJpDfgrSV90cSgllV5GQzfXBqfxi/KUCrcqhIoA=" providerId="None" clId="Web-{07BA3255-3DC4-4232-9BE6-4A8B76A90A87}" dt="2024-12-03T20:28:48.721" v="132" actId="20577"/>
        <pc:sldMkLst>
          <pc:docMk/>
          <pc:sldMk cId="2537578723" sldId="297"/>
        </pc:sldMkLst>
        <pc:spChg chg="mod">
          <ac:chgData name="Keerthanaa Ellur" userId="HfJ8EJpDfgrSV90cSgllV5GQzfXBqfxi/KUCrcqhIoA=" providerId="None" clId="Web-{07BA3255-3DC4-4232-9BE6-4A8B76A90A87}" dt="2024-12-03T20:28:48.721" v="132" actId="20577"/>
          <ac:spMkLst>
            <pc:docMk/>
            <pc:sldMk cId="2537578723" sldId="297"/>
            <ac:spMk id="3" creationId="{05948542-FCE1-3AE6-C6C9-17975609DF70}"/>
          </ac:spMkLst>
        </pc:spChg>
      </pc:sldChg>
      <pc:sldChg chg="modSp add replId">
        <pc:chgData name="Keerthanaa Ellur" userId="HfJ8EJpDfgrSV90cSgllV5GQzfXBqfxi/KUCrcqhIoA=" providerId="None" clId="Web-{07BA3255-3DC4-4232-9BE6-4A8B76A90A87}" dt="2024-12-03T20:23:26.870" v="118" actId="20577"/>
        <pc:sldMkLst>
          <pc:docMk/>
          <pc:sldMk cId="691522292" sldId="298"/>
        </pc:sldMkLst>
        <pc:spChg chg="mod">
          <ac:chgData name="Keerthanaa Ellur" userId="HfJ8EJpDfgrSV90cSgllV5GQzfXBqfxi/KUCrcqhIoA=" providerId="None" clId="Web-{07BA3255-3DC4-4232-9BE6-4A8B76A90A87}" dt="2024-12-03T20:23:26.870" v="118" actId="20577"/>
          <ac:spMkLst>
            <pc:docMk/>
            <pc:sldMk cId="691522292" sldId="298"/>
            <ac:spMk id="2" creationId="{5D030A76-B788-B363-104E-266B7C7F7208}"/>
          </ac:spMkLst>
        </pc:spChg>
        <pc:spChg chg="mod">
          <ac:chgData name="Keerthanaa Ellur" userId="HfJ8EJpDfgrSV90cSgllV5GQzfXBqfxi/KUCrcqhIoA=" providerId="None" clId="Web-{07BA3255-3DC4-4232-9BE6-4A8B76A90A87}" dt="2024-12-03T20:23:25.557" v="116" actId="20577"/>
          <ac:spMkLst>
            <pc:docMk/>
            <pc:sldMk cId="691522292" sldId="298"/>
            <ac:spMk id="3" creationId="{05948542-FCE1-3AE6-C6C9-17975609DF70}"/>
          </ac:spMkLst>
        </pc:spChg>
      </pc:sldChg>
      <pc:sldChg chg="modSp add ord replId">
        <pc:chgData name="Keerthanaa Ellur" userId="HfJ8EJpDfgrSV90cSgllV5GQzfXBqfxi/KUCrcqhIoA=" providerId="None" clId="Web-{07BA3255-3DC4-4232-9BE6-4A8B76A90A87}" dt="2024-12-03T20:24:51.298" v="128" actId="20577"/>
        <pc:sldMkLst>
          <pc:docMk/>
          <pc:sldMk cId="908612201" sldId="299"/>
        </pc:sldMkLst>
        <pc:spChg chg="mod">
          <ac:chgData name="Keerthanaa Ellur" userId="HfJ8EJpDfgrSV90cSgllV5GQzfXBqfxi/KUCrcqhIoA=" providerId="None" clId="Web-{07BA3255-3DC4-4232-9BE6-4A8B76A90A87}" dt="2024-12-03T20:24:51.298" v="128" actId="20577"/>
          <ac:spMkLst>
            <pc:docMk/>
            <pc:sldMk cId="908612201" sldId="299"/>
            <ac:spMk id="2" creationId="{5D030A76-B788-B363-104E-266B7C7F7208}"/>
          </ac:spMkLst>
        </pc:spChg>
        <pc:spChg chg="mod">
          <ac:chgData name="Keerthanaa Ellur" userId="HfJ8EJpDfgrSV90cSgllV5GQzfXBqfxi/KUCrcqhIoA=" providerId="None" clId="Web-{07BA3255-3DC4-4232-9BE6-4A8B76A90A87}" dt="2024-12-03T20:24:39.656" v="125" actId="20577"/>
          <ac:spMkLst>
            <pc:docMk/>
            <pc:sldMk cId="908612201" sldId="299"/>
            <ac:spMk id="3" creationId="{05948542-FCE1-3AE6-C6C9-17975609DF70}"/>
          </ac:spMkLst>
        </pc:spChg>
      </pc:sldChg>
      <pc:sldChg chg="add del replId">
        <pc:chgData name="Keerthanaa Ellur" userId="HfJ8EJpDfgrSV90cSgllV5GQzfXBqfxi/KUCrcqhIoA=" providerId="None" clId="Web-{07BA3255-3DC4-4232-9BE6-4A8B76A90A87}" dt="2024-12-03T20:23:29.839" v="119"/>
        <pc:sldMkLst>
          <pc:docMk/>
          <pc:sldMk cId="2209069457" sldId="299"/>
        </pc:sldMkLst>
      </pc:sldChg>
    </pc:docChg>
  </pc:docChgLst>
  <pc:docChgLst>
    <pc:chgData name="Jean Millan" userId="HHAwUipQPRBWM6EAgu5kVmw+5ZnRHIHMJWResuxeFj0=" providerId="None" clId="Web-{60017DF5-FD62-4D10-A46D-E7C021078138}"/>
    <pc:docChg chg="modSld sldOrd">
      <pc:chgData name="Jean Millan" userId="HHAwUipQPRBWM6EAgu5kVmw+5ZnRHIHMJWResuxeFj0=" providerId="None" clId="Web-{60017DF5-FD62-4D10-A46D-E7C021078138}" dt="2024-12-04T03:08:10.436" v="1721" actId="20577"/>
      <pc:docMkLst>
        <pc:docMk/>
      </pc:docMkLst>
      <pc:sldChg chg="addSp delSp modSp ord">
        <pc:chgData name="Jean Millan" userId="HHAwUipQPRBWM6EAgu5kVmw+5ZnRHIHMJWResuxeFj0=" providerId="None" clId="Web-{60017DF5-FD62-4D10-A46D-E7C021078138}" dt="2024-12-04T03:08:10.436" v="1721" actId="20577"/>
        <pc:sldMkLst>
          <pc:docMk/>
          <pc:sldMk cId="1958432151" sldId="292"/>
        </pc:sldMkLst>
        <pc:spChg chg="mod">
          <ac:chgData name="Jean Millan" userId="HHAwUipQPRBWM6EAgu5kVmw+5ZnRHIHMJWResuxeFj0=" providerId="None" clId="Web-{60017DF5-FD62-4D10-A46D-E7C021078138}" dt="2024-12-04T03:05:15.717" v="1661" actId="1076"/>
          <ac:spMkLst>
            <pc:docMk/>
            <pc:sldMk cId="1958432151" sldId="292"/>
            <ac:spMk id="2" creationId="{314C27C8-165C-5513-DB4B-9D840097C545}"/>
          </ac:spMkLst>
        </pc:spChg>
        <pc:spChg chg="add del">
          <ac:chgData name="Jean Millan" userId="HHAwUipQPRBWM6EAgu5kVmw+5ZnRHIHMJWResuxeFj0=" providerId="None" clId="Web-{60017DF5-FD62-4D10-A46D-E7C021078138}" dt="2024-12-04T03:05:45.003" v="1673"/>
          <ac:spMkLst>
            <pc:docMk/>
            <pc:sldMk cId="1958432151" sldId="292"/>
            <ac:spMk id="3" creationId="{48BD4B79-D4EB-F24B-3FF9-23E846C82CB5}"/>
          </ac:spMkLst>
        </pc:spChg>
        <pc:spChg chg="add del">
          <ac:chgData name="Jean Millan" userId="HHAwUipQPRBWM6EAgu5kVmw+5ZnRHIHMJWResuxeFj0=" providerId="None" clId="Web-{60017DF5-FD62-4D10-A46D-E7C021078138}" dt="2024-12-04T01:27:26.126" v="902"/>
          <ac:spMkLst>
            <pc:docMk/>
            <pc:sldMk cId="1958432151" sldId="292"/>
            <ac:spMk id="3" creationId="{909EBDA0-9184-158C-F40B-B4278213BBAD}"/>
          </ac:spMkLst>
        </pc:spChg>
        <pc:spChg chg="del">
          <ac:chgData name="Jean Millan" userId="HHAwUipQPRBWM6EAgu5kVmw+5ZnRHIHMJWResuxeFj0=" providerId="None" clId="Web-{60017DF5-FD62-4D10-A46D-E7C021078138}" dt="2024-12-04T00:41:43.472" v="0"/>
          <ac:spMkLst>
            <pc:docMk/>
            <pc:sldMk cId="1958432151" sldId="292"/>
            <ac:spMk id="3" creationId="{FACE640F-7F5A-BDB7-205D-765FA80B6796}"/>
          </ac:spMkLst>
        </pc:spChg>
        <pc:spChg chg="del">
          <ac:chgData name="Jean Millan" userId="HHAwUipQPRBWM6EAgu5kVmw+5ZnRHIHMJWResuxeFj0=" providerId="None" clId="Web-{60017DF5-FD62-4D10-A46D-E7C021078138}" dt="2024-12-04T00:42:41.599" v="5"/>
          <ac:spMkLst>
            <pc:docMk/>
            <pc:sldMk cId="1958432151" sldId="292"/>
            <ac:spMk id="4" creationId="{83302BFD-960F-CBB3-E984-CDC12813A10C}"/>
          </ac:spMkLst>
        </pc:spChg>
        <pc:spChg chg="add mod">
          <ac:chgData name="Jean Millan" userId="HHAwUipQPRBWM6EAgu5kVmw+5ZnRHIHMJWResuxeFj0=" providerId="None" clId="Web-{60017DF5-FD62-4D10-A46D-E7C021078138}" dt="2024-12-04T03:06:03.723" v="1681" actId="1076"/>
          <ac:spMkLst>
            <pc:docMk/>
            <pc:sldMk cId="1958432151" sldId="292"/>
            <ac:spMk id="4" creationId="{F8BD787A-1B71-9329-6847-30DB84ACA123}"/>
          </ac:spMkLst>
        </pc:spChg>
        <pc:spChg chg="add mod">
          <ac:chgData name="Jean Millan" userId="HHAwUipQPRBWM6EAgu5kVmw+5ZnRHIHMJWResuxeFj0=" providerId="None" clId="Web-{60017DF5-FD62-4D10-A46D-E7C021078138}" dt="2024-12-04T03:08:10.436" v="1721" actId="20577"/>
          <ac:spMkLst>
            <pc:docMk/>
            <pc:sldMk cId="1958432151" sldId="292"/>
            <ac:spMk id="5" creationId="{0C4713CC-6B84-65EB-739A-CD5C071987E8}"/>
          </ac:spMkLst>
        </pc:spChg>
        <pc:spChg chg="add del mod">
          <ac:chgData name="Jean Millan" userId="HHAwUipQPRBWM6EAgu5kVmw+5ZnRHIHMJWResuxeFj0=" providerId="None" clId="Web-{60017DF5-FD62-4D10-A46D-E7C021078138}" dt="2024-12-04T00:42:47.411" v="6"/>
          <ac:spMkLst>
            <pc:docMk/>
            <pc:sldMk cId="1958432151" sldId="292"/>
            <ac:spMk id="7" creationId="{0D3B3AC2-BCE8-2787-B839-F2D2D363E8B6}"/>
          </ac:spMkLst>
        </pc:spChg>
        <pc:picChg chg="add del mod ord">
          <ac:chgData name="Jean Millan" userId="HHAwUipQPRBWM6EAgu5kVmw+5ZnRHIHMJWResuxeFj0=" providerId="None" clId="Web-{60017DF5-FD62-4D10-A46D-E7C021078138}" dt="2024-12-04T00:41:56.394" v="4"/>
          <ac:picMkLst>
            <pc:docMk/>
            <pc:sldMk cId="1958432151" sldId="292"/>
            <ac:picMk id="5" creationId="{02E44350-6109-3CF4-3018-B1DD7605BDCE}"/>
          </ac:picMkLst>
        </pc:picChg>
        <pc:picChg chg="add mod ord">
          <ac:chgData name="Jean Millan" userId="HHAwUipQPRBWM6EAgu5kVmw+5ZnRHIHMJWResuxeFj0=" providerId="None" clId="Web-{60017DF5-FD62-4D10-A46D-E7C021078138}" dt="2024-12-04T03:05:18.920" v="1662" actId="1076"/>
          <ac:picMkLst>
            <pc:docMk/>
            <pc:sldMk cId="1958432151" sldId="292"/>
            <ac:picMk id="8" creationId="{ADD30CF4-3D48-BA13-E3EC-B61193279C93}"/>
          </ac:picMkLst>
        </pc:picChg>
        <pc:picChg chg="add mod ord">
          <ac:chgData name="Jean Millan" userId="HHAwUipQPRBWM6EAgu5kVmw+5ZnRHIHMJWResuxeFj0=" providerId="None" clId="Web-{60017DF5-FD62-4D10-A46D-E7C021078138}" dt="2024-12-04T03:05:20.420" v="1663" actId="1076"/>
          <ac:picMkLst>
            <pc:docMk/>
            <pc:sldMk cId="1958432151" sldId="292"/>
            <ac:picMk id="9" creationId="{4805482F-B930-B54A-36F5-253E6F931541}"/>
          </ac:picMkLst>
        </pc:picChg>
      </pc:sldChg>
      <pc:sldChg chg="addSp delSp modSp">
        <pc:chgData name="Jean Millan" userId="HHAwUipQPRBWM6EAgu5kVmw+5ZnRHIHMJWResuxeFj0=" providerId="None" clId="Web-{60017DF5-FD62-4D10-A46D-E7C021078138}" dt="2024-12-04T03:01:35.700" v="1587" actId="20577"/>
        <pc:sldMkLst>
          <pc:docMk/>
          <pc:sldMk cId="4278534278" sldId="294"/>
        </pc:sldMkLst>
        <pc:spChg chg="del">
          <ac:chgData name="Jean Millan" userId="HHAwUipQPRBWM6EAgu5kVmw+5ZnRHIHMJWResuxeFj0=" providerId="None" clId="Web-{60017DF5-FD62-4D10-A46D-E7C021078138}" dt="2024-12-04T00:46:04.495" v="15"/>
          <ac:spMkLst>
            <pc:docMk/>
            <pc:sldMk cId="4278534278" sldId="294"/>
            <ac:spMk id="3" creationId="{FACE640F-7F5A-BDB7-205D-765FA80B6796}"/>
          </ac:spMkLst>
        </pc:spChg>
        <pc:spChg chg="mod">
          <ac:chgData name="Jean Millan" userId="HHAwUipQPRBWM6EAgu5kVmw+5ZnRHIHMJWResuxeFj0=" providerId="None" clId="Web-{60017DF5-FD62-4D10-A46D-E7C021078138}" dt="2024-12-04T03:01:35.700" v="1587" actId="20577"/>
          <ac:spMkLst>
            <pc:docMk/>
            <pc:sldMk cId="4278534278" sldId="294"/>
            <ac:spMk id="4" creationId="{83302BFD-960F-CBB3-E984-CDC12813A10C}"/>
          </ac:spMkLst>
        </pc:spChg>
        <pc:picChg chg="add mod ord">
          <ac:chgData name="Jean Millan" userId="HHAwUipQPRBWM6EAgu5kVmw+5ZnRHIHMJWResuxeFj0=" providerId="None" clId="Web-{60017DF5-FD62-4D10-A46D-E7C021078138}" dt="2024-12-04T01:17:23.040" v="540" actId="14100"/>
          <ac:picMkLst>
            <pc:docMk/>
            <pc:sldMk cId="4278534278" sldId="294"/>
            <ac:picMk id="5" creationId="{0E589AE2-2289-FA9B-37F1-2FD08196DE2B}"/>
          </ac:picMkLst>
        </pc:picChg>
      </pc:sldChg>
    </pc:docChg>
  </pc:docChgLst>
  <pc:docChgLst>
    <pc:chgData name="Keerthanaa Ellur" userId="HfJ8EJpDfgrSV90cSgllV5GQzfXBqfxi/KUCrcqhIoA=" providerId="None" clId="Web-{7888F48E-4109-41EF-8A32-8DAC485C3AF3}"/>
    <pc:docChg chg="addSld delSld modSld">
      <pc:chgData name="Keerthanaa Ellur" userId="HfJ8EJpDfgrSV90cSgllV5GQzfXBqfxi/KUCrcqhIoA=" providerId="None" clId="Web-{7888F48E-4109-41EF-8A32-8DAC485C3AF3}" dt="2024-12-04T03:03:11.513" v="136" actId="20577"/>
      <pc:docMkLst>
        <pc:docMk/>
      </pc:docMkLst>
      <pc:sldChg chg="modSp">
        <pc:chgData name="Keerthanaa Ellur" userId="HfJ8EJpDfgrSV90cSgllV5GQzfXBqfxi/KUCrcqhIoA=" providerId="None" clId="Web-{7888F48E-4109-41EF-8A32-8DAC485C3AF3}" dt="2024-12-04T03:03:11.513" v="136" actId="20577"/>
        <pc:sldMkLst>
          <pc:docMk/>
          <pc:sldMk cId="1994246962" sldId="277"/>
        </pc:sldMkLst>
        <pc:spChg chg="mod">
          <ac:chgData name="Keerthanaa Ellur" userId="HfJ8EJpDfgrSV90cSgllV5GQzfXBqfxi/KUCrcqhIoA=" providerId="None" clId="Web-{7888F48E-4109-41EF-8A32-8DAC485C3AF3}" dt="2024-12-04T03:03:11.513" v="136" actId="20577"/>
          <ac:spMkLst>
            <pc:docMk/>
            <pc:sldMk cId="1994246962" sldId="277"/>
            <ac:spMk id="3" creationId="{05948542-FCE1-3AE6-C6C9-17975609DF70}"/>
          </ac:spMkLst>
        </pc:spChg>
      </pc:sldChg>
      <pc:sldChg chg="modSp">
        <pc:chgData name="Keerthanaa Ellur" userId="HfJ8EJpDfgrSV90cSgllV5GQzfXBqfxi/KUCrcqhIoA=" providerId="None" clId="Web-{7888F48E-4109-41EF-8A32-8DAC485C3AF3}" dt="2024-12-04T02:58:14.846" v="124" actId="20577"/>
        <pc:sldMkLst>
          <pc:docMk/>
          <pc:sldMk cId="691522292" sldId="298"/>
        </pc:sldMkLst>
        <pc:spChg chg="mod">
          <ac:chgData name="Keerthanaa Ellur" userId="HfJ8EJpDfgrSV90cSgllV5GQzfXBqfxi/KUCrcqhIoA=" providerId="None" clId="Web-{7888F48E-4109-41EF-8A32-8DAC485C3AF3}" dt="2024-12-04T02:58:14.846" v="124" actId="20577"/>
          <ac:spMkLst>
            <pc:docMk/>
            <pc:sldMk cId="691522292" sldId="298"/>
            <ac:spMk id="3" creationId="{05948542-FCE1-3AE6-C6C9-17975609DF70}"/>
          </ac:spMkLst>
        </pc:spChg>
      </pc:sldChg>
      <pc:sldChg chg="modSp">
        <pc:chgData name="Keerthanaa Ellur" userId="HfJ8EJpDfgrSV90cSgllV5GQzfXBqfxi/KUCrcqhIoA=" providerId="None" clId="Web-{7888F48E-4109-41EF-8A32-8DAC485C3AF3}" dt="2024-12-04T02:59:25.661" v="135" actId="20577"/>
        <pc:sldMkLst>
          <pc:docMk/>
          <pc:sldMk cId="908612201" sldId="299"/>
        </pc:sldMkLst>
        <pc:spChg chg="mod">
          <ac:chgData name="Keerthanaa Ellur" userId="HfJ8EJpDfgrSV90cSgllV5GQzfXBqfxi/KUCrcqhIoA=" providerId="None" clId="Web-{7888F48E-4109-41EF-8A32-8DAC485C3AF3}" dt="2024-12-04T02:59:25.661" v="135" actId="20577"/>
          <ac:spMkLst>
            <pc:docMk/>
            <pc:sldMk cId="908612201" sldId="299"/>
            <ac:spMk id="3" creationId="{05948542-FCE1-3AE6-C6C9-17975609DF70}"/>
          </ac:spMkLst>
        </pc:spChg>
      </pc:sldChg>
      <pc:sldChg chg="modSp add replId">
        <pc:chgData name="Keerthanaa Ellur" userId="HfJ8EJpDfgrSV90cSgllV5GQzfXBqfxi/KUCrcqhIoA=" providerId="None" clId="Web-{7888F48E-4109-41EF-8A32-8DAC485C3AF3}" dt="2024-12-04T02:58:58.692" v="129" actId="20577"/>
        <pc:sldMkLst>
          <pc:docMk/>
          <pc:sldMk cId="1243087442" sldId="303"/>
        </pc:sldMkLst>
        <pc:spChg chg="mod">
          <ac:chgData name="Keerthanaa Ellur" userId="HfJ8EJpDfgrSV90cSgllV5GQzfXBqfxi/KUCrcqhIoA=" providerId="None" clId="Web-{7888F48E-4109-41EF-8A32-8DAC485C3AF3}" dt="2024-12-04T02:58:58.692" v="129" actId="20577"/>
          <ac:spMkLst>
            <pc:docMk/>
            <pc:sldMk cId="1243087442" sldId="303"/>
            <ac:spMk id="3" creationId="{05948542-FCE1-3AE6-C6C9-17975609DF70}"/>
          </ac:spMkLst>
        </pc:spChg>
      </pc:sldChg>
      <pc:sldChg chg="modSp add del replId">
        <pc:chgData name="Keerthanaa Ellur" userId="HfJ8EJpDfgrSV90cSgllV5GQzfXBqfxi/KUCrcqhIoA=" providerId="None" clId="Web-{7888F48E-4109-41EF-8A32-8DAC485C3AF3}" dt="2024-12-04T02:58:19.597" v="125"/>
        <pc:sldMkLst>
          <pc:docMk/>
          <pc:sldMk cId="577301245" sldId="304"/>
        </pc:sldMkLst>
        <pc:spChg chg="mod">
          <ac:chgData name="Keerthanaa Ellur" userId="HfJ8EJpDfgrSV90cSgllV5GQzfXBqfxi/KUCrcqhIoA=" providerId="None" clId="Web-{7888F48E-4109-41EF-8A32-8DAC485C3AF3}" dt="2024-12-04T02:08:50.325" v="61" actId="20577"/>
          <ac:spMkLst>
            <pc:docMk/>
            <pc:sldMk cId="577301245" sldId="304"/>
            <ac:spMk id="3" creationId="{05948542-FCE1-3AE6-C6C9-17975609DF70}"/>
          </ac:spMkLst>
        </pc:spChg>
      </pc:sldChg>
    </pc:docChg>
  </pc:docChgLst>
  <pc:docChgLst>
    <pc:chgData name="Dave Widjaja" userId="a08tb1uajV3QCZIKJatmZeWgz2nyYt4/gsvCOJVxPUQ=" providerId="None" clId="Web-{38DB9C13-DD96-4324-9753-79D16F71596E}"/>
    <pc:docChg chg="addSld modSld sldOrd">
      <pc:chgData name="Dave Widjaja" userId="a08tb1uajV3QCZIKJatmZeWgz2nyYt4/gsvCOJVxPUQ=" providerId="None" clId="Web-{38DB9C13-DD96-4324-9753-79D16F71596E}" dt="2024-12-04T02:52:04.505" v="433" actId="20577"/>
      <pc:docMkLst>
        <pc:docMk/>
      </pc:docMkLst>
      <pc:sldChg chg="modSp new ord">
        <pc:chgData name="Dave Widjaja" userId="a08tb1uajV3QCZIKJatmZeWgz2nyYt4/gsvCOJVxPUQ=" providerId="None" clId="Web-{38DB9C13-DD96-4324-9753-79D16F71596E}" dt="2024-12-04T02:49:58.829" v="431" actId="20577"/>
        <pc:sldMkLst>
          <pc:docMk/>
          <pc:sldMk cId="1356658813" sldId="300"/>
        </pc:sldMkLst>
        <pc:spChg chg="mod">
          <ac:chgData name="Dave Widjaja" userId="a08tb1uajV3QCZIKJatmZeWgz2nyYt4/gsvCOJVxPUQ=" providerId="None" clId="Web-{38DB9C13-DD96-4324-9753-79D16F71596E}" dt="2024-12-04T00:28:22.176" v="17" actId="20577"/>
          <ac:spMkLst>
            <pc:docMk/>
            <pc:sldMk cId="1356658813" sldId="300"/>
            <ac:spMk id="2" creationId="{2614CEB0-FACB-62C3-51D8-A40CC35C8E50}"/>
          </ac:spMkLst>
        </pc:spChg>
        <pc:spChg chg="mod">
          <ac:chgData name="Dave Widjaja" userId="a08tb1uajV3QCZIKJatmZeWgz2nyYt4/gsvCOJVxPUQ=" providerId="None" clId="Web-{38DB9C13-DD96-4324-9753-79D16F71596E}" dt="2024-12-04T02:49:58.829" v="431" actId="20577"/>
          <ac:spMkLst>
            <pc:docMk/>
            <pc:sldMk cId="1356658813" sldId="300"/>
            <ac:spMk id="3" creationId="{6B4DE082-5264-A8C6-8E0C-C5A66A838B90}"/>
          </ac:spMkLst>
        </pc:spChg>
      </pc:sldChg>
      <pc:sldChg chg="modSp new">
        <pc:chgData name="Dave Widjaja" userId="a08tb1uajV3QCZIKJatmZeWgz2nyYt4/gsvCOJVxPUQ=" providerId="None" clId="Web-{38DB9C13-DD96-4324-9753-79D16F71596E}" dt="2024-12-04T02:52:04.505" v="433" actId="20577"/>
        <pc:sldMkLst>
          <pc:docMk/>
          <pc:sldMk cId="2444171830" sldId="301"/>
        </pc:sldMkLst>
        <pc:spChg chg="mod">
          <ac:chgData name="Dave Widjaja" userId="a08tb1uajV3QCZIKJatmZeWgz2nyYt4/gsvCOJVxPUQ=" providerId="None" clId="Web-{38DB9C13-DD96-4324-9753-79D16F71596E}" dt="2024-12-04T00:34:08.954" v="162" actId="20577"/>
          <ac:spMkLst>
            <pc:docMk/>
            <pc:sldMk cId="2444171830" sldId="301"/>
            <ac:spMk id="2" creationId="{3E236DA4-B126-52C3-E16D-8C26F0080224}"/>
          </ac:spMkLst>
        </pc:spChg>
        <pc:spChg chg="mod">
          <ac:chgData name="Dave Widjaja" userId="a08tb1uajV3QCZIKJatmZeWgz2nyYt4/gsvCOJVxPUQ=" providerId="None" clId="Web-{38DB9C13-DD96-4324-9753-79D16F71596E}" dt="2024-12-04T02:52:04.505" v="433" actId="20577"/>
          <ac:spMkLst>
            <pc:docMk/>
            <pc:sldMk cId="2444171830" sldId="301"/>
            <ac:spMk id="3" creationId="{8D2BA737-60F8-41C7-197E-65D6FD780CEE}"/>
          </ac:spMkLst>
        </pc:spChg>
      </pc:sldChg>
    </pc:docChg>
  </pc:docChgLst>
  <pc:docChgLst>
    <pc:chgData name="Oluwagbotemi Oyefeso" userId="NwWFancOdn2fKbE7WQZiOo0sQfH+o74tpQygnAeMGXw=" providerId="None" clId="Web-{78432534-6FDF-4EA2-B2A7-11870DA3B990}"/>
    <pc:docChg chg="addSld modSld">
      <pc:chgData name="Oluwagbotemi Oyefeso" userId="NwWFancOdn2fKbE7WQZiOo0sQfH+o74tpQygnAeMGXw=" providerId="None" clId="Web-{78432534-6FDF-4EA2-B2A7-11870DA3B990}" dt="2024-11-22T05:12:11.853" v="13" actId="1076"/>
      <pc:docMkLst>
        <pc:docMk/>
      </pc:docMkLst>
      <pc:sldChg chg="addSp modSp">
        <pc:chgData name="Oluwagbotemi Oyefeso" userId="NwWFancOdn2fKbE7WQZiOo0sQfH+o74tpQygnAeMGXw=" providerId="None" clId="Web-{78432534-6FDF-4EA2-B2A7-11870DA3B990}" dt="2024-11-22T05:11:15.630" v="6" actId="14100"/>
        <pc:sldMkLst>
          <pc:docMk/>
          <pc:sldMk cId="2070817603" sldId="273"/>
        </pc:sldMkLst>
        <pc:picChg chg="add mod">
          <ac:chgData name="Oluwagbotemi Oyefeso" userId="NwWFancOdn2fKbE7WQZiOo0sQfH+o74tpQygnAeMGXw=" providerId="None" clId="Web-{78432534-6FDF-4EA2-B2A7-11870DA3B990}" dt="2024-11-22T05:11:15.630" v="6" actId="14100"/>
          <ac:picMkLst>
            <pc:docMk/>
            <pc:sldMk cId="2070817603" sldId="273"/>
            <ac:picMk id="4" creationId="{E108B8EF-6ACD-F244-7240-CB66554F4088}"/>
          </ac:picMkLst>
        </pc:picChg>
      </pc:sldChg>
      <pc:sldChg chg="addSp modSp">
        <pc:chgData name="Oluwagbotemi Oyefeso" userId="NwWFancOdn2fKbE7WQZiOo0sQfH+o74tpQygnAeMGXw=" providerId="None" clId="Web-{78432534-6FDF-4EA2-B2A7-11870DA3B990}" dt="2024-11-22T05:12:11.853" v="13" actId="1076"/>
        <pc:sldMkLst>
          <pc:docMk/>
          <pc:sldMk cId="2083028416" sldId="288"/>
        </pc:sldMkLst>
        <pc:picChg chg="add mod">
          <ac:chgData name="Oluwagbotemi Oyefeso" userId="NwWFancOdn2fKbE7WQZiOo0sQfH+o74tpQygnAeMGXw=" providerId="None" clId="Web-{78432534-6FDF-4EA2-B2A7-11870DA3B990}" dt="2024-11-22T05:12:11.853" v="13" actId="1076"/>
          <ac:picMkLst>
            <pc:docMk/>
            <pc:sldMk cId="2083028416" sldId="288"/>
            <ac:picMk id="3" creationId="{3A5EB41B-5837-D42C-822C-C97ABA32A62A}"/>
          </ac:picMkLst>
        </pc:picChg>
      </pc:sldChg>
      <pc:sldChg chg="addSp delSp modSp new">
        <pc:chgData name="Oluwagbotemi Oyefeso" userId="NwWFancOdn2fKbE7WQZiOo0sQfH+o74tpQygnAeMGXw=" providerId="None" clId="Web-{78432534-6FDF-4EA2-B2A7-11870DA3B990}" dt="2024-11-22T05:11:56.992" v="12" actId="14100"/>
        <pc:sldMkLst>
          <pc:docMk/>
          <pc:sldMk cId="4158366382" sldId="293"/>
        </pc:sldMkLst>
      </pc:sldChg>
    </pc:docChg>
  </pc:docChgLst>
  <pc:docChgLst>
    <pc:chgData name="Nhu Khue Nguyen Khac" userId="41zJ1LbGwkbEWFDME36H2XxhIovitOD4RY0J19yumig=" providerId="None" clId="Web-{992680C1-4243-4F73-A67C-8124A9DE58F0}"/>
    <pc:docChg chg="addSld modSld">
      <pc:chgData name="Nhu Khue Nguyen Khac" userId="41zJ1LbGwkbEWFDME36H2XxhIovitOD4RY0J19yumig=" providerId="None" clId="Web-{992680C1-4243-4F73-A67C-8124A9DE58F0}" dt="2024-12-04T02:52:33.929" v="333" actId="20577"/>
      <pc:docMkLst>
        <pc:docMk/>
      </pc:docMkLst>
      <pc:sldChg chg="addSp delSp modSp">
        <pc:chgData name="Nhu Khue Nguyen Khac" userId="41zJ1LbGwkbEWFDME36H2XxhIovitOD4RY0J19yumig=" providerId="None" clId="Web-{992680C1-4243-4F73-A67C-8124A9DE58F0}" dt="2024-12-04T01:59:26.193" v="81" actId="1076"/>
        <pc:sldMkLst>
          <pc:docMk/>
          <pc:sldMk cId="3054086706" sldId="283"/>
        </pc:sldMkLst>
        <pc:spChg chg="mod">
          <ac:chgData name="Nhu Khue Nguyen Khac" userId="41zJ1LbGwkbEWFDME36H2XxhIovitOD4RY0J19yumig=" providerId="None" clId="Web-{992680C1-4243-4F73-A67C-8124A9DE58F0}" dt="2024-12-04T01:11:56.671" v="11" actId="1076"/>
          <ac:spMkLst>
            <pc:docMk/>
            <pc:sldMk cId="3054086706" sldId="283"/>
            <ac:spMk id="4" creationId="{83302BFD-960F-CBB3-E984-CDC12813A10C}"/>
          </ac:spMkLst>
        </pc:spChg>
        <pc:spChg chg="add del mod">
          <ac:chgData name="Nhu Khue Nguyen Khac" userId="41zJ1LbGwkbEWFDME36H2XxhIovitOD4RY0J19yumig=" providerId="None" clId="Web-{992680C1-4243-4F73-A67C-8124A9DE58F0}" dt="2024-12-04T01:55:00.013" v="57"/>
          <ac:spMkLst>
            <pc:docMk/>
            <pc:sldMk cId="3054086706" sldId="283"/>
            <ac:spMk id="5" creationId="{9E234788-BA79-B75A-222C-498B5F323E36}"/>
          </ac:spMkLst>
        </pc:spChg>
        <pc:spChg chg="add del mod">
          <ac:chgData name="Nhu Khue Nguyen Khac" userId="41zJ1LbGwkbEWFDME36H2XxhIovitOD4RY0J19yumig=" providerId="None" clId="Web-{992680C1-4243-4F73-A67C-8124A9DE58F0}" dt="2024-12-04T01:11:22.983" v="2"/>
          <ac:spMkLst>
            <pc:docMk/>
            <pc:sldMk cId="3054086706" sldId="283"/>
            <ac:spMk id="7" creationId="{575448DC-35AD-D6C2-6BBF-EE94E49AD19A}"/>
          </ac:spMkLst>
        </pc:spChg>
        <pc:spChg chg="add del mod">
          <ac:chgData name="Nhu Khue Nguyen Khac" userId="41zJ1LbGwkbEWFDME36H2XxhIovitOD4RY0J19yumig=" providerId="None" clId="Web-{992680C1-4243-4F73-A67C-8124A9DE58F0}" dt="2024-12-04T01:59:10.115" v="77"/>
          <ac:spMkLst>
            <pc:docMk/>
            <pc:sldMk cId="3054086706" sldId="283"/>
            <ac:spMk id="12" creationId="{8166AF81-F16B-A202-6E8A-0D6B1BA9AE71}"/>
          </ac:spMkLst>
        </pc:spChg>
        <pc:picChg chg="del">
          <ac:chgData name="Nhu Khue Nguyen Khac" userId="41zJ1LbGwkbEWFDME36H2XxhIovitOD4RY0J19yumig=" providerId="None" clId="Web-{992680C1-4243-4F73-A67C-8124A9DE58F0}" dt="2024-12-04T01:11:16.998" v="0"/>
          <ac:picMkLst>
            <pc:docMk/>
            <pc:sldMk cId="3054086706" sldId="283"/>
            <ac:picMk id="5" creationId="{0CA35718-FDC0-F4CB-0C1E-1F1901079C05}"/>
          </ac:picMkLst>
        </pc:picChg>
        <pc:picChg chg="del">
          <ac:chgData name="Nhu Khue Nguyen Khac" userId="41zJ1LbGwkbEWFDME36H2XxhIovitOD4RY0J19yumig=" providerId="None" clId="Web-{992680C1-4243-4F73-A67C-8124A9DE58F0}" dt="2024-12-04T01:11:21.233" v="1"/>
          <ac:picMkLst>
            <pc:docMk/>
            <pc:sldMk cId="3054086706" sldId="283"/>
            <ac:picMk id="6" creationId="{BCCBAE33-4848-AEA5-8979-50F9BC185712}"/>
          </ac:picMkLst>
        </pc:picChg>
        <pc:picChg chg="add del mod ord">
          <ac:chgData name="Nhu Khue Nguyen Khac" userId="41zJ1LbGwkbEWFDME36H2XxhIovitOD4RY0J19yumig=" providerId="None" clId="Web-{992680C1-4243-4F73-A67C-8124A9DE58F0}" dt="2024-12-04T01:59:08.959" v="76"/>
          <ac:picMkLst>
            <pc:docMk/>
            <pc:sldMk cId="3054086706" sldId="283"/>
            <ac:picMk id="6" creationId="{D556FEB6-1316-7C17-B93D-ABF0D749A56B}"/>
          </ac:picMkLst>
        </pc:picChg>
        <pc:picChg chg="add del mod">
          <ac:chgData name="Nhu Khue Nguyen Khac" userId="41zJ1LbGwkbEWFDME36H2XxhIovitOD4RY0J19yumig=" providerId="None" clId="Web-{992680C1-4243-4F73-A67C-8124A9DE58F0}" dt="2024-12-04T01:59:07.380" v="75"/>
          <ac:picMkLst>
            <pc:docMk/>
            <pc:sldMk cId="3054086706" sldId="283"/>
            <ac:picMk id="7" creationId="{AFBAA214-7912-8D8A-A655-056E1A8B3036}"/>
          </ac:picMkLst>
        </pc:picChg>
        <pc:picChg chg="add del mod ord">
          <ac:chgData name="Nhu Khue Nguyen Khac" userId="41zJ1LbGwkbEWFDME36H2XxhIovitOD4RY0J19yumig=" providerId="None" clId="Web-{992680C1-4243-4F73-A67C-8124A9DE58F0}" dt="2024-12-04T01:54:58.544" v="56"/>
          <ac:picMkLst>
            <pc:docMk/>
            <pc:sldMk cId="3054086706" sldId="283"/>
            <ac:picMk id="8" creationId="{DA7D650B-990D-FED6-6C94-BDAE1A6EE3B3}"/>
          </ac:picMkLst>
        </pc:picChg>
        <pc:picChg chg="add del mod">
          <ac:chgData name="Nhu Khue Nguyen Khac" userId="41zJ1LbGwkbEWFDME36H2XxhIovitOD4RY0J19yumig=" providerId="None" clId="Web-{992680C1-4243-4F73-A67C-8124A9DE58F0}" dt="2024-12-04T01:59:06.037" v="74"/>
          <ac:picMkLst>
            <pc:docMk/>
            <pc:sldMk cId="3054086706" sldId="283"/>
            <ac:picMk id="9" creationId="{20885C36-17BC-3E60-B9D3-0ECFFCEAAAA5}"/>
          </ac:picMkLst>
        </pc:picChg>
        <pc:picChg chg="add del mod">
          <ac:chgData name="Nhu Khue Nguyen Khac" userId="41zJ1LbGwkbEWFDME36H2XxhIovitOD4RY0J19yumig=" providerId="None" clId="Web-{992680C1-4243-4F73-A67C-8124A9DE58F0}" dt="2024-12-04T01:59:04.662" v="73"/>
          <ac:picMkLst>
            <pc:docMk/>
            <pc:sldMk cId="3054086706" sldId="283"/>
            <ac:picMk id="10" creationId="{3399351D-C81E-4C0A-A301-99C62A2769B9}"/>
          </ac:picMkLst>
        </pc:picChg>
        <pc:picChg chg="add mod ord">
          <ac:chgData name="Nhu Khue Nguyen Khac" userId="41zJ1LbGwkbEWFDME36H2XxhIovitOD4RY0J19yumig=" providerId="None" clId="Web-{992680C1-4243-4F73-A67C-8124A9DE58F0}" dt="2024-12-04T01:59:26.193" v="81" actId="1076"/>
          <ac:picMkLst>
            <pc:docMk/>
            <pc:sldMk cId="3054086706" sldId="283"/>
            <ac:picMk id="13" creationId="{53D953D9-A78A-8FC0-2CC7-F20ACF386DFA}"/>
          </ac:picMkLst>
        </pc:picChg>
      </pc:sldChg>
      <pc:sldChg chg="modSp">
        <pc:chgData name="Nhu Khue Nguyen Khac" userId="41zJ1LbGwkbEWFDME36H2XxhIovitOD4RY0J19yumig=" providerId="None" clId="Web-{992680C1-4243-4F73-A67C-8124A9DE58F0}" dt="2024-12-04T02:34:05.262" v="138" actId="1076"/>
        <pc:sldMkLst>
          <pc:docMk/>
          <pc:sldMk cId="3221568206" sldId="295"/>
        </pc:sldMkLst>
        <pc:spChg chg="mod">
          <ac:chgData name="Nhu Khue Nguyen Khac" userId="41zJ1LbGwkbEWFDME36H2XxhIovitOD4RY0J19yumig=" providerId="None" clId="Web-{992680C1-4243-4F73-A67C-8124A9DE58F0}" dt="2024-12-04T02:34:05.262" v="138" actId="1076"/>
          <ac:spMkLst>
            <pc:docMk/>
            <pc:sldMk cId="3221568206" sldId="295"/>
            <ac:spMk id="4" creationId="{250D4176-7766-ED3A-4BEB-AD358FD4CA65}"/>
          </ac:spMkLst>
        </pc:spChg>
      </pc:sldChg>
      <pc:sldChg chg="addSp delSp modSp add replId">
        <pc:chgData name="Nhu Khue Nguyen Khac" userId="41zJ1LbGwkbEWFDME36H2XxhIovitOD4RY0J19yumig=" providerId="None" clId="Web-{992680C1-4243-4F73-A67C-8124A9DE58F0}" dt="2024-12-04T02:33:06.057" v="137" actId="1076"/>
        <pc:sldMkLst>
          <pc:docMk/>
          <pc:sldMk cId="3193644654" sldId="302"/>
        </pc:sldMkLst>
        <pc:spChg chg="mod">
          <ac:chgData name="Nhu Khue Nguyen Khac" userId="41zJ1LbGwkbEWFDME36H2XxhIovitOD4RY0J19yumig=" providerId="None" clId="Web-{992680C1-4243-4F73-A67C-8124A9DE58F0}" dt="2024-12-04T02:32:58.135" v="136" actId="1076"/>
          <ac:spMkLst>
            <pc:docMk/>
            <pc:sldMk cId="3193644654" sldId="302"/>
            <ac:spMk id="2" creationId="{314C27C8-165C-5513-DB4B-9D840097C545}"/>
          </ac:spMkLst>
        </pc:spChg>
        <pc:spChg chg="del mod">
          <ac:chgData name="Nhu Khue Nguyen Khac" userId="41zJ1LbGwkbEWFDME36H2XxhIovitOD4RY0J19yumig=" providerId="None" clId="Web-{992680C1-4243-4F73-A67C-8124A9DE58F0}" dt="2024-12-04T01:14:22.817" v="16"/>
          <ac:spMkLst>
            <pc:docMk/>
            <pc:sldMk cId="3193644654" sldId="302"/>
            <ac:spMk id="4" creationId="{83302BFD-960F-CBB3-E984-CDC12813A10C}"/>
          </ac:spMkLst>
        </pc:spChg>
        <pc:spChg chg="add mod">
          <ac:chgData name="Nhu Khue Nguyen Khac" userId="41zJ1LbGwkbEWFDME36H2XxhIovitOD4RY0J19yumig=" providerId="None" clId="Web-{992680C1-4243-4F73-A67C-8124A9DE58F0}" dt="2024-12-04T02:33:06.057" v="137" actId="1076"/>
          <ac:spMkLst>
            <pc:docMk/>
            <pc:sldMk cId="3193644654" sldId="302"/>
            <ac:spMk id="5" creationId="{0A502F82-98AF-1C8B-7EFA-422A4EAE2322}"/>
          </ac:spMkLst>
        </pc:spChg>
        <pc:picChg chg="add mod ord">
          <ac:chgData name="Nhu Khue Nguyen Khac" userId="41zJ1LbGwkbEWFDME36H2XxhIovitOD4RY0J19yumig=" providerId="None" clId="Web-{992680C1-4243-4F73-A67C-8124A9DE58F0}" dt="2024-12-04T01:14:31.255" v="18" actId="14100"/>
          <ac:picMkLst>
            <pc:docMk/>
            <pc:sldMk cId="3193644654" sldId="302"/>
            <ac:picMk id="6" creationId="{7451A745-B30C-A3B7-0F88-265EBA820A0F}"/>
          </ac:picMkLst>
        </pc:picChg>
        <pc:picChg chg="del">
          <ac:chgData name="Nhu Khue Nguyen Khac" userId="41zJ1LbGwkbEWFDME36H2XxhIovitOD4RY0J19yumig=" providerId="None" clId="Web-{992680C1-4243-4F73-A67C-8124A9DE58F0}" dt="2024-12-04T01:13:44.238" v="13"/>
          <ac:picMkLst>
            <pc:docMk/>
            <pc:sldMk cId="3193644654" sldId="302"/>
            <ac:picMk id="8" creationId="{DA7D650B-990D-FED6-6C94-BDAE1A6EE3B3}"/>
          </ac:picMkLst>
        </pc:picChg>
      </pc:sldChg>
      <pc:sldChg chg="modSp">
        <pc:chgData name="Nhu Khue Nguyen Khac" userId="41zJ1LbGwkbEWFDME36H2XxhIovitOD4RY0J19yumig=" providerId="None" clId="Web-{992680C1-4243-4F73-A67C-8124A9DE58F0}" dt="2024-12-04T02:52:33.929" v="333" actId="20577"/>
        <pc:sldMkLst>
          <pc:docMk/>
          <pc:sldMk cId="1243087442" sldId="303"/>
        </pc:sldMkLst>
        <pc:spChg chg="mod">
          <ac:chgData name="Nhu Khue Nguyen Khac" userId="41zJ1LbGwkbEWFDME36H2XxhIovitOD4RY0J19yumig=" providerId="None" clId="Web-{992680C1-4243-4F73-A67C-8124A9DE58F0}" dt="2024-12-04T02:52:33.929" v="333" actId="20577"/>
          <ac:spMkLst>
            <pc:docMk/>
            <pc:sldMk cId="1243087442" sldId="303"/>
            <ac:spMk id="3" creationId="{05948542-FCE1-3AE6-C6C9-17975609DF70}"/>
          </ac:spMkLst>
        </pc:spChg>
      </pc:sldChg>
      <pc:sldChg chg="modSp">
        <pc:chgData name="Nhu Khue Nguyen Khac" userId="41zJ1LbGwkbEWFDME36H2XxhIovitOD4RY0J19yumig=" providerId="None" clId="Web-{992680C1-4243-4F73-A67C-8124A9DE58F0}" dt="2024-12-04T02:47:53.531" v="140" actId="20577"/>
        <pc:sldMkLst>
          <pc:docMk/>
          <pc:sldMk cId="577301245" sldId="304"/>
        </pc:sldMkLst>
        <pc:spChg chg="mod">
          <ac:chgData name="Nhu Khue Nguyen Khac" userId="41zJ1LbGwkbEWFDME36H2XxhIovitOD4RY0J19yumig=" providerId="None" clId="Web-{992680C1-4243-4F73-A67C-8124A9DE58F0}" dt="2024-12-04T02:47:53.531" v="140" actId="20577"/>
          <ac:spMkLst>
            <pc:docMk/>
            <pc:sldMk cId="577301245" sldId="304"/>
            <ac:spMk id="3" creationId="{05948542-FCE1-3AE6-C6C9-17975609DF70}"/>
          </ac:spMkLst>
        </pc:spChg>
      </pc:sldChg>
    </pc:docChg>
  </pc:docChgLst>
  <pc:docChgLst>
    <pc:chgData name="Oluwagbotemi Oyefeso" userId="NwWFancOdn2fKbE7WQZiOo0sQfH+o74tpQygnAeMGXw=" providerId="None" clId="Web-{49D974D7-29E3-49FA-B6F8-323D1B871B90}"/>
    <pc:docChg chg="modSld">
      <pc:chgData name="Oluwagbotemi Oyefeso" userId="NwWFancOdn2fKbE7WQZiOo0sQfH+o74tpQygnAeMGXw=" providerId="None" clId="Web-{49D974D7-29E3-49FA-B6F8-323D1B871B90}" dt="2024-12-04T17:42:34.458" v="111" actId="1076"/>
      <pc:docMkLst>
        <pc:docMk/>
      </pc:docMkLst>
      <pc:sldChg chg="modSp modNotes">
        <pc:chgData name="Oluwagbotemi Oyefeso" userId="NwWFancOdn2fKbE7WQZiOo0sQfH+o74tpQygnAeMGXw=" providerId="None" clId="Web-{49D974D7-29E3-49FA-B6F8-323D1B871B90}" dt="2024-12-04T17:29:25.840" v="42" actId="20577"/>
        <pc:sldMkLst>
          <pc:docMk/>
          <pc:sldMk cId="1994246962" sldId="277"/>
        </pc:sldMkLst>
        <pc:spChg chg="mod">
          <ac:chgData name="Oluwagbotemi Oyefeso" userId="NwWFancOdn2fKbE7WQZiOo0sQfH+o74tpQygnAeMGXw=" providerId="None" clId="Web-{49D974D7-29E3-49FA-B6F8-323D1B871B90}" dt="2024-12-04T17:29:25.840" v="42" actId="20577"/>
          <ac:spMkLst>
            <pc:docMk/>
            <pc:sldMk cId="1994246962" sldId="277"/>
            <ac:spMk id="3" creationId="{05948542-FCE1-3AE6-C6C9-17975609DF70}"/>
          </ac:spMkLst>
        </pc:spChg>
      </pc:sldChg>
      <pc:sldChg chg="addSp delSp modSp">
        <pc:chgData name="Oluwagbotemi Oyefeso" userId="NwWFancOdn2fKbE7WQZiOo0sQfH+o74tpQygnAeMGXw=" providerId="None" clId="Web-{49D974D7-29E3-49FA-B6F8-323D1B871B90}" dt="2024-12-04T17:20:49.528" v="17" actId="1076"/>
        <pc:sldMkLst>
          <pc:docMk/>
          <pc:sldMk cId="1958432151" sldId="292"/>
        </pc:sldMkLst>
        <pc:spChg chg="del">
          <ac:chgData name="Oluwagbotemi Oyefeso" userId="NwWFancOdn2fKbE7WQZiOo0sQfH+o74tpQygnAeMGXw=" providerId="None" clId="Web-{49D974D7-29E3-49FA-B6F8-323D1B871B90}" dt="2024-12-04T17:19:57.136" v="4"/>
          <ac:spMkLst>
            <pc:docMk/>
            <pc:sldMk cId="1958432151" sldId="292"/>
            <ac:spMk id="2" creationId="{314C27C8-165C-5513-DB4B-9D840097C545}"/>
          </ac:spMkLst>
        </pc:spChg>
        <pc:spChg chg="mod">
          <ac:chgData name="Oluwagbotemi Oyefeso" userId="NwWFancOdn2fKbE7WQZiOo0sQfH+o74tpQygnAeMGXw=" providerId="None" clId="Web-{49D974D7-29E3-49FA-B6F8-323D1B871B90}" dt="2024-12-04T17:20:11.167" v="8" actId="1076"/>
          <ac:spMkLst>
            <pc:docMk/>
            <pc:sldMk cId="1958432151" sldId="292"/>
            <ac:spMk id="4" creationId="{F8BD787A-1B71-9329-6847-30DB84ACA123}"/>
          </ac:spMkLst>
        </pc:spChg>
        <pc:spChg chg="mod">
          <ac:chgData name="Oluwagbotemi Oyefeso" userId="NwWFancOdn2fKbE7WQZiOo0sQfH+o74tpQygnAeMGXw=" providerId="None" clId="Web-{49D974D7-29E3-49FA-B6F8-323D1B871B90}" dt="2024-12-04T17:20:49.528" v="17" actId="1076"/>
          <ac:spMkLst>
            <pc:docMk/>
            <pc:sldMk cId="1958432151" sldId="292"/>
            <ac:spMk id="5" creationId="{0C4713CC-6B84-65EB-739A-CD5C071987E8}"/>
          </ac:spMkLst>
        </pc:spChg>
        <pc:spChg chg="add del mod">
          <ac:chgData name="Oluwagbotemi Oyefeso" userId="NwWFancOdn2fKbE7WQZiOo0sQfH+o74tpQygnAeMGXw=" providerId="None" clId="Web-{49D974D7-29E3-49FA-B6F8-323D1B871B90}" dt="2024-12-04T17:20:00.886" v="5"/>
          <ac:spMkLst>
            <pc:docMk/>
            <pc:sldMk cId="1958432151" sldId="292"/>
            <ac:spMk id="7" creationId="{297D7B6B-0F56-7438-1BC2-630FBD80820A}"/>
          </ac:spMkLst>
        </pc:spChg>
        <pc:picChg chg="add mod ord">
          <ac:chgData name="Oluwagbotemi Oyefeso" userId="NwWFancOdn2fKbE7WQZiOo0sQfH+o74tpQygnAeMGXw=" providerId="None" clId="Web-{49D974D7-29E3-49FA-B6F8-323D1B871B90}" dt="2024-12-04T17:19:51.776" v="3"/>
          <ac:picMkLst>
            <pc:docMk/>
            <pc:sldMk cId="1958432151" sldId="292"/>
            <ac:picMk id="3" creationId="{4D6ABBA5-6316-AB30-9DEB-E703C482CBE8}"/>
          </ac:picMkLst>
        </pc:picChg>
        <pc:picChg chg="mod">
          <ac:chgData name="Oluwagbotemi Oyefeso" userId="NwWFancOdn2fKbE7WQZiOo0sQfH+o74tpQygnAeMGXw=" providerId="None" clId="Web-{49D974D7-29E3-49FA-B6F8-323D1B871B90}" dt="2024-12-04T17:20:34.246" v="14" actId="1076"/>
          <ac:picMkLst>
            <pc:docMk/>
            <pc:sldMk cId="1958432151" sldId="292"/>
            <ac:picMk id="8" creationId="{ADD30CF4-3D48-BA13-E3EC-B61193279C93}"/>
          </ac:picMkLst>
        </pc:picChg>
        <pc:picChg chg="mod">
          <ac:chgData name="Oluwagbotemi Oyefeso" userId="NwWFancOdn2fKbE7WQZiOo0sQfH+o74tpQygnAeMGXw=" providerId="None" clId="Web-{49D974D7-29E3-49FA-B6F8-323D1B871B90}" dt="2024-12-04T17:20:14.074" v="9" actId="1076"/>
          <ac:picMkLst>
            <pc:docMk/>
            <pc:sldMk cId="1958432151" sldId="292"/>
            <ac:picMk id="9" creationId="{4805482F-B930-B54A-36F5-253E6F931541}"/>
          </ac:picMkLst>
        </pc:picChg>
      </pc:sldChg>
      <pc:sldChg chg="addSp delSp modSp">
        <pc:chgData name="Oluwagbotemi Oyefeso" userId="NwWFancOdn2fKbE7WQZiOo0sQfH+o74tpQygnAeMGXw=" providerId="None" clId="Web-{49D974D7-29E3-49FA-B6F8-323D1B871B90}" dt="2024-12-04T17:22:59.001" v="31" actId="1076"/>
        <pc:sldMkLst>
          <pc:docMk/>
          <pc:sldMk cId="4278534278" sldId="294"/>
        </pc:sldMkLst>
        <pc:spChg chg="del">
          <ac:chgData name="Oluwagbotemi Oyefeso" userId="NwWFancOdn2fKbE7WQZiOo0sQfH+o74tpQygnAeMGXw=" providerId="None" clId="Web-{49D974D7-29E3-49FA-B6F8-323D1B871B90}" dt="2024-12-04T17:22:36.078" v="27"/>
          <ac:spMkLst>
            <pc:docMk/>
            <pc:sldMk cId="4278534278" sldId="294"/>
            <ac:spMk id="2" creationId="{314C27C8-165C-5513-DB4B-9D840097C545}"/>
          </ac:spMkLst>
        </pc:spChg>
        <pc:spChg chg="mod">
          <ac:chgData name="Oluwagbotemi Oyefeso" userId="NwWFancOdn2fKbE7WQZiOo0sQfH+o74tpQygnAeMGXw=" providerId="None" clId="Web-{49D974D7-29E3-49FA-B6F8-323D1B871B90}" dt="2024-12-04T17:22:53.735" v="30" actId="1076"/>
          <ac:spMkLst>
            <pc:docMk/>
            <pc:sldMk cId="4278534278" sldId="294"/>
            <ac:spMk id="4" creationId="{83302BFD-960F-CBB3-E984-CDC12813A10C}"/>
          </ac:spMkLst>
        </pc:spChg>
        <pc:spChg chg="add del mod">
          <ac:chgData name="Oluwagbotemi Oyefeso" userId="NwWFancOdn2fKbE7WQZiOo0sQfH+o74tpQygnAeMGXw=" providerId="None" clId="Web-{49D974D7-29E3-49FA-B6F8-323D1B871B90}" dt="2024-12-04T17:22:39.016" v="28"/>
          <ac:spMkLst>
            <pc:docMk/>
            <pc:sldMk cId="4278534278" sldId="294"/>
            <ac:spMk id="8" creationId="{03F9BEB5-D8EC-D91B-27DC-0102BD90806F}"/>
          </ac:spMkLst>
        </pc:spChg>
        <pc:picChg chg="add del mod">
          <ac:chgData name="Oluwagbotemi Oyefeso" userId="NwWFancOdn2fKbE7WQZiOo0sQfH+o74tpQygnAeMGXw=" providerId="None" clId="Web-{49D974D7-29E3-49FA-B6F8-323D1B871B90}" dt="2024-12-04T17:21:44.170" v="22"/>
          <ac:picMkLst>
            <pc:docMk/>
            <pc:sldMk cId="4278534278" sldId="294"/>
            <ac:picMk id="3" creationId="{91650EAF-7042-F12B-9FF2-47C53F4FEC8C}"/>
          </ac:picMkLst>
        </pc:picChg>
        <pc:picChg chg="mod">
          <ac:chgData name="Oluwagbotemi Oyefeso" userId="NwWFancOdn2fKbE7WQZiOo0sQfH+o74tpQygnAeMGXw=" providerId="None" clId="Web-{49D974D7-29E3-49FA-B6F8-323D1B871B90}" dt="2024-12-04T17:22:59.001" v="31" actId="1076"/>
          <ac:picMkLst>
            <pc:docMk/>
            <pc:sldMk cId="4278534278" sldId="294"/>
            <ac:picMk id="5" creationId="{0E589AE2-2289-FA9B-37F1-2FD08196DE2B}"/>
          </ac:picMkLst>
        </pc:picChg>
        <pc:picChg chg="add mod ord">
          <ac:chgData name="Oluwagbotemi Oyefeso" userId="NwWFancOdn2fKbE7WQZiOo0sQfH+o74tpQygnAeMGXw=" providerId="None" clId="Web-{49D974D7-29E3-49FA-B6F8-323D1B871B90}" dt="2024-12-04T17:22:32.469" v="26"/>
          <ac:picMkLst>
            <pc:docMk/>
            <pc:sldMk cId="4278534278" sldId="294"/>
            <ac:picMk id="6" creationId="{8F145301-B696-A780-BBFC-1C3F2B088EB9}"/>
          </ac:picMkLst>
        </pc:picChg>
      </pc:sldChg>
      <pc:sldChg chg="addSp delSp modSp">
        <pc:chgData name="Oluwagbotemi Oyefeso" userId="NwWFancOdn2fKbE7WQZiOo0sQfH+o74tpQygnAeMGXw=" providerId="None" clId="Web-{49D974D7-29E3-49FA-B6F8-323D1B871B90}" dt="2024-12-04T17:36:37.025" v="90" actId="20577"/>
        <pc:sldMkLst>
          <pc:docMk/>
          <pc:sldMk cId="691522292" sldId="298"/>
        </pc:sldMkLst>
        <pc:spChg chg="del">
          <ac:chgData name="Oluwagbotemi Oyefeso" userId="NwWFancOdn2fKbE7WQZiOo0sQfH+o74tpQygnAeMGXw=" providerId="None" clId="Web-{49D974D7-29E3-49FA-B6F8-323D1B871B90}" dt="2024-12-04T17:33:06.597" v="47"/>
          <ac:spMkLst>
            <pc:docMk/>
            <pc:sldMk cId="691522292" sldId="298"/>
            <ac:spMk id="2" creationId="{5D030A76-B788-B363-104E-266B7C7F7208}"/>
          </ac:spMkLst>
        </pc:spChg>
        <pc:spChg chg="mod">
          <ac:chgData name="Oluwagbotemi Oyefeso" userId="NwWFancOdn2fKbE7WQZiOo0sQfH+o74tpQygnAeMGXw=" providerId="None" clId="Web-{49D974D7-29E3-49FA-B6F8-323D1B871B90}" dt="2024-12-04T17:36:37.025" v="90" actId="20577"/>
          <ac:spMkLst>
            <pc:docMk/>
            <pc:sldMk cId="691522292" sldId="298"/>
            <ac:spMk id="3" creationId="{05948542-FCE1-3AE6-C6C9-17975609DF70}"/>
          </ac:spMkLst>
        </pc:spChg>
        <pc:spChg chg="add del mod">
          <ac:chgData name="Oluwagbotemi Oyefeso" userId="NwWFancOdn2fKbE7WQZiOo0sQfH+o74tpQygnAeMGXw=" providerId="None" clId="Web-{49D974D7-29E3-49FA-B6F8-323D1B871B90}" dt="2024-12-04T17:33:11.847" v="48"/>
          <ac:spMkLst>
            <pc:docMk/>
            <pc:sldMk cId="691522292" sldId="298"/>
            <ac:spMk id="6" creationId="{89765098-75D6-06B9-73C8-48B0840DF33A}"/>
          </ac:spMkLst>
        </pc:spChg>
        <pc:picChg chg="add mod ord">
          <ac:chgData name="Oluwagbotemi Oyefeso" userId="NwWFancOdn2fKbE7WQZiOo0sQfH+o74tpQygnAeMGXw=" providerId="None" clId="Web-{49D974D7-29E3-49FA-B6F8-323D1B871B90}" dt="2024-12-04T17:33:00.363" v="46"/>
          <ac:picMkLst>
            <pc:docMk/>
            <pc:sldMk cId="691522292" sldId="298"/>
            <ac:picMk id="4" creationId="{DC85C52A-6570-6908-9180-1FB4B53A8A1A}"/>
          </ac:picMkLst>
        </pc:picChg>
      </pc:sldChg>
      <pc:sldChg chg="addSp delSp modSp">
        <pc:chgData name="Oluwagbotemi Oyefeso" userId="NwWFancOdn2fKbE7WQZiOo0sQfH+o74tpQygnAeMGXw=" providerId="None" clId="Web-{49D974D7-29E3-49FA-B6F8-323D1B871B90}" dt="2024-12-04T17:42:34.458" v="111" actId="1076"/>
        <pc:sldMkLst>
          <pc:docMk/>
          <pc:sldMk cId="908612201" sldId="299"/>
        </pc:sldMkLst>
        <pc:spChg chg="del">
          <ac:chgData name="Oluwagbotemi Oyefeso" userId="NwWFancOdn2fKbE7WQZiOo0sQfH+o74tpQygnAeMGXw=" providerId="None" clId="Web-{49D974D7-29E3-49FA-B6F8-323D1B871B90}" dt="2024-12-04T17:41:29.800" v="95"/>
          <ac:spMkLst>
            <pc:docMk/>
            <pc:sldMk cId="908612201" sldId="299"/>
            <ac:spMk id="2" creationId="{5D030A76-B788-B363-104E-266B7C7F7208}"/>
          </ac:spMkLst>
        </pc:spChg>
        <pc:spChg chg="mod">
          <ac:chgData name="Oluwagbotemi Oyefeso" userId="NwWFancOdn2fKbE7WQZiOo0sQfH+o74tpQygnAeMGXw=" providerId="None" clId="Web-{49D974D7-29E3-49FA-B6F8-323D1B871B90}" dt="2024-12-04T17:42:34.458" v="111" actId="1076"/>
          <ac:spMkLst>
            <pc:docMk/>
            <pc:sldMk cId="908612201" sldId="299"/>
            <ac:spMk id="3" creationId="{05948542-FCE1-3AE6-C6C9-17975609DF70}"/>
          </ac:spMkLst>
        </pc:spChg>
        <pc:spChg chg="add del mod">
          <ac:chgData name="Oluwagbotemi Oyefeso" userId="NwWFancOdn2fKbE7WQZiOo0sQfH+o74tpQygnAeMGXw=" providerId="None" clId="Web-{49D974D7-29E3-49FA-B6F8-323D1B871B90}" dt="2024-12-04T17:41:33.706" v="96"/>
          <ac:spMkLst>
            <pc:docMk/>
            <pc:sldMk cId="908612201" sldId="299"/>
            <ac:spMk id="6" creationId="{098C88ED-5C40-29DF-9475-FBFA6458FD7A}"/>
          </ac:spMkLst>
        </pc:spChg>
        <pc:picChg chg="add mod ord">
          <ac:chgData name="Oluwagbotemi Oyefeso" userId="NwWFancOdn2fKbE7WQZiOo0sQfH+o74tpQygnAeMGXw=" providerId="None" clId="Web-{49D974D7-29E3-49FA-B6F8-323D1B871B90}" dt="2024-12-04T17:41:23.143" v="94"/>
          <ac:picMkLst>
            <pc:docMk/>
            <pc:sldMk cId="908612201" sldId="299"/>
            <ac:picMk id="4" creationId="{D1302E2A-3F7E-B0AA-624A-F4B8C0FA14D5}"/>
          </ac:picMkLst>
        </pc:picChg>
      </pc:sldChg>
      <pc:sldChg chg="addSp delSp modSp">
        <pc:chgData name="Oluwagbotemi Oyefeso" userId="NwWFancOdn2fKbE7WQZiOo0sQfH+o74tpQygnAeMGXw=" providerId="None" clId="Web-{49D974D7-29E3-49FA-B6F8-323D1B871B90}" dt="2024-12-04T17:36:11.462" v="88" actId="1076"/>
        <pc:sldMkLst>
          <pc:docMk/>
          <pc:sldMk cId="1243087442" sldId="303"/>
        </pc:sldMkLst>
        <pc:spChg chg="del">
          <ac:chgData name="Oluwagbotemi Oyefeso" userId="NwWFancOdn2fKbE7WQZiOo0sQfH+o74tpQygnAeMGXw=" providerId="None" clId="Web-{49D974D7-29E3-49FA-B6F8-323D1B871B90}" dt="2024-12-04T17:35:22.679" v="70"/>
          <ac:spMkLst>
            <pc:docMk/>
            <pc:sldMk cId="1243087442" sldId="303"/>
            <ac:spMk id="2" creationId="{5D030A76-B788-B363-104E-266B7C7F7208}"/>
          </ac:spMkLst>
        </pc:spChg>
        <pc:spChg chg="mod">
          <ac:chgData name="Oluwagbotemi Oyefeso" userId="NwWFancOdn2fKbE7WQZiOo0sQfH+o74tpQygnAeMGXw=" providerId="None" clId="Web-{49D974D7-29E3-49FA-B6F8-323D1B871B90}" dt="2024-12-04T17:36:11.462" v="88" actId="1076"/>
          <ac:spMkLst>
            <pc:docMk/>
            <pc:sldMk cId="1243087442" sldId="303"/>
            <ac:spMk id="3" creationId="{05948542-FCE1-3AE6-C6C9-17975609DF70}"/>
          </ac:spMkLst>
        </pc:spChg>
        <pc:spChg chg="add del mod">
          <ac:chgData name="Oluwagbotemi Oyefeso" userId="NwWFancOdn2fKbE7WQZiOo0sQfH+o74tpQygnAeMGXw=" providerId="None" clId="Web-{49D974D7-29E3-49FA-B6F8-323D1B871B90}" dt="2024-12-04T17:35:30.961" v="72"/>
          <ac:spMkLst>
            <pc:docMk/>
            <pc:sldMk cId="1243087442" sldId="303"/>
            <ac:spMk id="6" creationId="{63DCDF76-518E-0624-4283-9C2CE7F16BF4}"/>
          </ac:spMkLst>
        </pc:spChg>
        <pc:picChg chg="add mod ord">
          <ac:chgData name="Oluwagbotemi Oyefeso" userId="NwWFancOdn2fKbE7WQZiOo0sQfH+o74tpQygnAeMGXw=" providerId="None" clId="Web-{49D974D7-29E3-49FA-B6F8-323D1B871B90}" dt="2024-12-04T17:35:18.320" v="69"/>
          <ac:picMkLst>
            <pc:docMk/>
            <pc:sldMk cId="1243087442" sldId="303"/>
            <ac:picMk id="4" creationId="{043C3E56-090C-67A7-29B9-83136123BDA2}"/>
          </ac:picMkLst>
        </pc:picChg>
      </pc:sldChg>
    </pc:docChg>
  </pc:docChgLst>
  <pc:docChgLst>
    <pc:chgData name="Nhu Khue Nguyen Khac" userId="41zJ1LbGwkbEWFDME36H2XxhIovitOD4RY0J19yumig=" providerId="None" clId="Web-{C262B037-F064-4683-854C-8477A50B3B7E}"/>
    <pc:docChg chg="modSld">
      <pc:chgData name="Nhu Khue Nguyen Khac" userId="41zJ1LbGwkbEWFDME36H2XxhIovitOD4RY0J19yumig=" providerId="None" clId="Web-{C262B037-F064-4683-854C-8477A50B3B7E}" dt="2024-11-29T18:00:19.234" v="47" actId="20577"/>
      <pc:docMkLst>
        <pc:docMk/>
      </pc:docMkLst>
      <pc:sldChg chg="addSp delSp modSp">
        <pc:chgData name="Nhu Khue Nguyen Khac" userId="41zJ1LbGwkbEWFDME36H2XxhIovitOD4RY0J19yumig=" providerId="None" clId="Web-{C262B037-F064-4683-854C-8477A50B3B7E}" dt="2024-11-29T18:00:19.234" v="47" actId="20577"/>
        <pc:sldMkLst>
          <pc:docMk/>
          <pc:sldMk cId="3054086706" sldId="283"/>
        </pc:sldMkLst>
        <pc:spChg chg="mod">
          <ac:chgData name="Nhu Khue Nguyen Khac" userId="41zJ1LbGwkbEWFDME36H2XxhIovitOD4RY0J19yumig=" providerId="None" clId="Web-{C262B037-F064-4683-854C-8477A50B3B7E}" dt="2024-11-29T18:00:19.234" v="47" actId="20577"/>
          <ac:spMkLst>
            <pc:docMk/>
            <pc:sldMk cId="3054086706" sldId="283"/>
            <ac:spMk id="4" creationId="{83302BFD-960F-CBB3-E984-CDC12813A10C}"/>
          </ac:spMkLst>
        </pc:spChg>
      </pc:sldChg>
    </pc:docChg>
  </pc:docChgLst>
  <pc:docChgLst>
    <pc:chgData name="Oluwagbotemi Oyefeso" userId="NwWFancOdn2fKbE7WQZiOo0sQfH+o74tpQygnAeMGXw=" providerId="None" clId="Web-{08E4F9C2-E30A-46E4-8730-3C8EDB324969}"/>
    <pc:docChg chg="addSld modSld">
      <pc:chgData name="Oluwagbotemi Oyefeso" userId="NwWFancOdn2fKbE7WQZiOo0sQfH+o74tpQygnAeMGXw=" providerId="None" clId="Web-{08E4F9C2-E30A-46E4-8730-3C8EDB324969}" dt="2024-12-04T21:14:10.770" v="164" actId="1076"/>
      <pc:docMkLst>
        <pc:docMk/>
      </pc:docMkLst>
      <pc:sldChg chg="addSp delSp modSp">
        <pc:chgData name="Oluwagbotemi Oyefeso" userId="NwWFancOdn2fKbE7WQZiOo0sQfH+o74tpQygnAeMGXw=" providerId="None" clId="Web-{08E4F9C2-E30A-46E4-8730-3C8EDB324969}" dt="2024-12-04T20:40:08.871" v="92" actId="1076"/>
        <pc:sldMkLst>
          <pc:docMk/>
          <pc:sldMk cId="1994246962" sldId="277"/>
        </pc:sldMkLst>
        <pc:spChg chg="del mod">
          <ac:chgData name="Oluwagbotemi Oyefeso" userId="NwWFancOdn2fKbE7WQZiOo0sQfH+o74tpQygnAeMGXw=" providerId="None" clId="Web-{08E4F9C2-E30A-46E4-8730-3C8EDB324969}" dt="2024-12-04T20:29:24.994" v="89"/>
          <ac:spMkLst>
            <pc:docMk/>
            <pc:sldMk cId="1994246962" sldId="277"/>
            <ac:spMk id="2" creationId="{5D030A76-B788-B363-104E-266B7C7F7208}"/>
          </ac:spMkLst>
        </pc:spChg>
        <pc:spChg chg="mod">
          <ac:chgData name="Oluwagbotemi Oyefeso" userId="NwWFancOdn2fKbE7WQZiOo0sQfH+o74tpQygnAeMGXw=" providerId="None" clId="Web-{08E4F9C2-E30A-46E4-8730-3C8EDB324969}" dt="2024-12-04T20:40:08.871" v="92" actId="1076"/>
          <ac:spMkLst>
            <pc:docMk/>
            <pc:sldMk cId="1994246962" sldId="277"/>
            <ac:spMk id="3" creationId="{05948542-FCE1-3AE6-C6C9-17975609DF70}"/>
          </ac:spMkLst>
        </pc:spChg>
        <pc:spChg chg="add del mod">
          <ac:chgData name="Oluwagbotemi Oyefeso" userId="NwWFancOdn2fKbE7WQZiOo0sQfH+o74tpQygnAeMGXw=" providerId="None" clId="Web-{08E4F9C2-E30A-46E4-8730-3C8EDB324969}" dt="2024-12-04T20:39:54.902" v="90"/>
          <ac:spMkLst>
            <pc:docMk/>
            <pc:sldMk cId="1994246962" sldId="277"/>
            <ac:spMk id="6" creationId="{8BBF8363-B951-A19F-2EC8-856849834A10}"/>
          </ac:spMkLst>
        </pc:spChg>
        <pc:picChg chg="add mod ord">
          <ac:chgData name="Oluwagbotemi Oyefeso" userId="NwWFancOdn2fKbE7WQZiOo0sQfH+o74tpQygnAeMGXw=" providerId="None" clId="Web-{08E4F9C2-E30A-46E4-8730-3C8EDB324969}" dt="2024-12-04T20:28:25.493" v="79"/>
          <ac:picMkLst>
            <pc:docMk/>
            <pc:sldMk cId="1994246962" sldId="277"/>
            <ac:picMk id="4" creationId="{77A52E80-A532-A219-496E-1549DD7E9686}"/>
          </ac:picMkLst>
        </pc:picChg>
      </pc:sldChg>
      <pc:sldChg chg="addSp delSp modSp">
        <pc:chgData name="Oluwagbotemi Oyefeso" userId="NwWFancOdn2fKbE7WQZiOo0sQfH+o74tpQygnAeMGXw=" providerId="None" clId="Web-{08E4F9C2-E30A-46E4-8730-3C8EDB324969}" dt="2024-12-04T20:54:18.644" v="105" actId="1076"/>
        <pc:sldMkLst>
          <pc:docMk/>
          <pc:sldMk cId="2537578723" sldId="297"/>
        </pc:sldMkLst>
        <pc:spChg chg="del">
          <ac:chgData name="Oluwagbotemi Oyefeso" userId="NwWFancOdn2fKbE7WQZiOo0sQfH+o74tpQygnAeMGXw=" providerId="None" clId="Web-{08E4F9C2-E30A-46E4-8730-3C8EDB324969}" dt="2024-12-04T20:53:43.955" v="97"/>
          <ac:spMkLst>
            <pc:docMk/>
            <pc:sldMk cId="2537578723" sldId="297"/>
            <ac:spMk id="2" creationId="{5D030A76-B788-B363-104E-266B7C7F7208}"/>
          </ac:spMkLst>
        </pc:spChg>
        <pc:spChg chg="mod">
          <ac:chgData name="Oluwagbotemi Oyefeso" userId="NwWFancOdn2fKbE7WQZiOo0sQfH+o74tpQygnAeMGXw=" providerId="None" clId="Web-{08E4F9C2-E30A-46E4-8730-3C8EDB324969}" dt="2024-12-04T20:54:18.644" v="105" actId="1076"/>
          <ac:spMkLst>
            <pc:docMk/>
            <pc:sldMk cId="2537578723" sldId="297"/>
            <ac:spMk id="3" creationId="{05948542-FCE1-3AE6-C6C9-17975609DF70}"/>
          </ac:spMkLst>
        </pc:spChg>
        <pc:spChg chg="del">
          <ac:chgData name="Oluwagbotemi Oyefeso" userId="NwWFancOdn2fKbE7WQZiOo0sQfH+o74tpQygnAeMGXw=" providerId="None" clId="Web-{08E4F9C2-E30A-46E4-8730-3C8EDB324969}" dt="2024-12-04T20:53:24.580" v="93"/>
          <ac:spMkLst>
            <pc:docMk/>
            <pc:sldMk cId="2537578723" sldId="297"/>
            <ac:spMk id="4" creationId="{3EE67564-0457-E486-97D0-8109D2C97B3F}"/>
          </ac:spMkLst>
        </pc:spChg>
        <pc:spChg chg="add del mod">
          <ac:chgData name="Oluwagbotemi Oyefeso" userId="NwWFancOdn2fKbE7WQZiOo0sQfH+o74tpQygnAeMGXw=" providerId="None" clId="Web-{08E4F9C2-E30A-46E4-8730-3C8EDB324969}" dt="2024-12-04T20:53:46.721" v="98"/>
          <ac:spMkLst>
            <pc:docMk/>
            <pc:sldMk cId="2537578723" sldId="297"/>
            <ac:spMk id="7" creationId="{537BD2C0-B3DE-0F47-D3EB-53226E6429DF}"/>
          </ac:spMkLst>
        </pc:spChg>
        <pc:picChg chg="add mod ord">
          <ac:chgData name="Oluwagbotemi Oyefeso" userId="NwWFancOdn2fKbE7WQZiOo0sQfH+o74tpQygnAeMGXw=" providerId="None" clId="Web-{08E4F9C2-E30A-46E4-8730-3C8EDB324969}" dt="2024-12-04T20:53:55.003" v="101" actId="1076"/>
          <ac:picMkLst>
            <pc:docMk/>
            <pc:sldMk cId="2537578723" sldId="297"/>
            <ac:picMk id="5" creationId="{8C038AFD-5569-5D87-4C68-21D28198FEE3}"/>
          </ac:picMkLst>
        </pc:picChg>
      </pc:sldChg>
      <pc:sldChg chg="addSp delSp modSp">
        <pc:chgData name="Oluwagbotemi Oyefeso" userId="NwWFancOdn2fKbE7WQZiOo0sQfH+o74tpQygnAeMGXw=" providerId="None" clId="Web-{08E4F9C2-E30A-46E4-8730-3C8EDB324969}" dt="2024-12-04T21:06:29.460" v="121" actId="1076"/>
        <pc:sldMkLst>
          <pc:docMk/>
          <pc:sldMk cId="691522292" sldId="298"/>
        </pc:sldMkLst>
        <pc:spChg chg="mod">
          <ac:chgData name="Oluwagbotemi Oyefeso" userId="NwWFancOdn2fKbE7WQZiOo0sQfH+o74tpQygnAeMGXw=" providerId="None" clId="Web-{08E4F9C2-E30A-46E4-8730-3C8EDB324969}" dt="2024-12-04T21:06:29.460" v="121" actId="1076"/>
          <ac:spMkLst>
            <pc:docMk/>
            <pc:sldMk cId="691522292" sldId="298"/>
            <ac:spMk id="3" creationId="{05948542-FCE1-3AE6-C6C9-17975609DF70}"/>
          </ac:spMkLst>
        </pc:spChg>
        <pc:picChg chg="add mod ord">
          <ac:chgData name="Oluwagbotemi Oyefeso" userId="NwWFancOdn2fKbE7WQZiOo0sQfH+o74tpQygnAeMGXw=" providerId="None" clId="Web-{08E4F9C2-E30A-46E4-8730-3C8EDB324969}" dt="2024-12-04T21:06:03.303" v="116"/>
          <ac:picMkLst>
            <pc:docMk/>
            <pc:sldMk cId="691522292" sldId="298"/>
            <ac:picMk id="2" creationId="{BA986A8C-F283-BCC9-55A5-2DE2A522B2BD}"/>
          </ac:picMkLst>
        </pc:picChg>
        <pc:picChg chg="del">
          <ac:chgData name="Oluwagbotemi Oyefeso" userId="NwWFancOdn2fKbE7WQZiOo0sQfH+o74tpQygnAeMGXw=" providerId="None" clId="Web-{08E4F9C2-E30A-46E4-8730-3C8EDB324969}" dt="2024-12-04T21:05:51.256" v="113"/>
          <ac:picMkLst>
            <pc:docMk/>
            <pc:sldMk cId="691522292" sldId="298"/>
            <ac:picMk id="4" creationId="{DC85C52A-6570-6908-9180-1FB4B53A8A1A}"/>
          </ac:picMkLst>
        </pc:picChg>
      </pc:sldChg>
      <pc:sldChg chg="addSp delSp modSp">
        <pc:chgData name="Oluwagbotemi Oyefeso" userId="NwWFancOdn2fKbE7WQZiOo0sQfH+o74tpQygnAeMGXw=" providerId="None" clId="Web-{08E4F9C2-E30A-46E4-8730-3C8EDB324969}" dt="2024-12-04T17:51:15.442" v="31" actId="1076"/>
        <pc:sldMkLst>
          <pc:docMk/>
          <pc:sldMk cId="1356658813" sldId="300"/>
        </pc:sldMkLst>
        <pc:spChg chg="del">
          <ac:chgData name="Oluwagbotemi Oyefeso" userId="NwWFancOdn2fKbE7WQZiOo0sQfH+o74tpQygnAeMGXw=" providerId="None" clId="Web-{08E4F9C2-E30A-46E4-8730-3C8EDB324969}" dt="2024-12-04T17:50:34.035" v="16"/>
          <ac:spMkLst>
            <pc:docMk/>
            <pc:sldMk cId="1356658813" sldId="300"/>
            <ac:spMk id="2" creationId="{2614CEB0-FACB-62C3-51D8-A40CC35C8E50}"/>
          </ac:spMkLst>
        </pc:spChg>
        <pc:spChg chg="mod">
          <ac:chgData name="Oluwagbotemi Oyefeso" userId="NwWFancOdn2fKbE7WQZiOo0sQfH+o74tpQygnAeMGXw=" providerId="None" clId="Web-{08E4F9C2-E30A-46E4-8730-3C8EDB324969}" dt="2024-12-04T17:51:15.442" v="31" actId="1076"/>
          <ac:spMkLst>
            <pc:docMk/>
            <pc:sldMk cId="1356658813" sldId="300"/>
            <ac:spMk id="3" creationId="{6B4DE082-5264-A8C6-8E0C-C5A66A838B90}"/>
          </ac:spMkLst>
        </pc:spChg>
        <pc:spChg chg="del">
          <ac:chgData name="Oluwagbotemi Oyefeso" userId="NwWFancOdn2fKbE7WQZiOo0sQfH+o74tpQygnAeMGXw=" providerId="None" clId="Web-{08E4F9C2-E30A-46E4-8730-3C8EDB324969}" dt="2024-12-04T17:49:11.657" v="0"/>
          <ac:spMkLst>
            <pc:docMk/>
            <pc:sldMk cId="1356658813" sldId="300"/>
            <ac:spMk id="4" creationId="{51FF435B-30E6-E1D9-895F-53597C8637CD}"/>
          </ac:spMkLst>
        </pc:spChg>
        <pc:spChg chg="add del mod">
          <ac:chgData name="Oluwagbotemi Oyefeso" userId="NwWFancOdn2fKbE7WQZiOo0sQfH+o74tpQygnAeMGXw=" providerId="None" clId="Web-{08E4F9C2-E30A-46E4-8730-3C8EDB324969}" dt="2024-12-04T17:49:49.127" v="5"/>
          <ac:spMkLst>
            <pc:docMk/>
            <pc:sldMk cId="1356658813" sldId="300"/>
            <ac:spMk id="7" creationId="{C636A6A3-EF11-C8CF-62E8-17E1F8EDCB29}"/>
          </ac:spMkLst>
        </pc:spChg>
        <pc:spChg chg="add del mod">
          <ac:chgData name="Oluwagbotemi Oyefeso" userId="NwWFancOdn2fKbE7WQZiOo0sQfH+o74tpQygnAeMGXw=" providerId="None" clId="Web-{08E4F9C2-E30A-46E4-8730-3C8EDB324969}" dt="2024-12-04T17:50:02.643" v="9"/>
          <ac:spMkLst>
            <pc:docMk/>
            <pc:sldMk cId="1356658813" sldId="300"/>
            <ac:spMk id="10" creationId="{975C7ECC-4766-E811-BDA4-BC741DECFE95}"/>
          </ac:spMkLst>
        </pc:spChg>
        <pc:spChg chg="add del mod">
          <ac:chgData name="Oluwagbotemi Oyefeso" userId="NwWFancOdn2fKbE7WQZiOo0sQfH+o74tpQygnAeMGXw=" providerId="None" clId="Web-{08E4F9C2-E30A-46E4-8730-3C8EDB324969}" dt="2024-12-04T17:50:18.675" v="12"/>
          <ac:spMkLst>
            <pc:docMk/>
            <pc:sldMk cId="1356658813" sldId="300"/>
            <ac:spMk id="13" creationId="{E3B82C4B-80D6-7726-9D8F-42775C4C11F7}"/>
          </ac:spMkLst>
        </pc:spChg>
        <pc:spChg chg="add del mod">
          <ac:chgData name="Oluwagbotemi Oyefeso" userId="NwWFancOdn2fKbE7WQZiOo0sQfH+o74tpQygnAeMGXw=" providerId="None" clId="Web-{08E4F9C2-E30A-46E4-8730-3C8EDB324969}" dt="2024-12-04T17:50:36.222" v="17"/>
          <ac:spMkLst>
            <pc:docMk/>
            <pc:sldMk cId="1356658813" sldId="300"/>
            <ac:spMk id="16" creationId="{E2438390-758B-D6D5-2C27-416FA695D6B3}"/>
          </ac:spMkLst>
        </pc:spChg>
        <pc:picChg chg="add del mod ord">
          <ac:chgData name="Oluwagbotemi Oyefeso" userId="NwWFancOdn2fKbE7WQZiOo0sQfH+o74tpQygnAeMGXw=" providerId="None" clId="Web-{08E4F9C2-E30A-46E4-8730-3C8EDB324969}" dt="2024-12-04T17:49:46.924" v="4"/>
          <ac:picMkLst>
            <pc:docMk/>
            <pc:sldMk cId="1356658813" sldId="300"/>
            <ac:picMk id="5" creationId="{27BCF981-F1C9-9821-59E3-503D5C2B257D}"/>
          </ac:picMkLst>
        </pc:picChg>
        <pc:picChg chg="add del mod ord">
          <ac:chgData name="Oluwagbotemi Oyefeso" userId="NwWFancOdn2fKbE7WQZiOo0sQfH+o74tpQygnAeMGXw=" providerId="None" clId="Web-{08E4F9C2-E30A-46E4-8730-3C8EDB324969}" dt="2024-12-04T17:50:00.299" v="8"/>
          <ac:picMkLst>
            <pc:docMk/>
            <pc:sldMk cId="1356658813" sldId="300"/>
            <ac:picMk id="8" creationId="{85CCB47A-7C54-A847-D7B4-B3BB9D935CE0}"/>
          </ac:picMkLst>
        </pc:picChg>
        <pc:picChg chg="add del mod ord">
          <ac:chgData name="Oluwagbotemi Oyefeso" userId="NwWFancOdn2fKbE7WQZiOo0sQfH+o74tpQygnAeMGXw=" providerId="None" clId="Web-{08E4F9C2-E30A-46E4-8730-3C8EDB324969}" dt="2024-12-04T17:50:09.096" v="11"/>
          <ac:picMkLst>
            <pc:docMk/>
            <pc:sldMk cId="1356658813" sldId="300"/>
            <ac:picMk id="11" creationId="{30A66798-11B5-A258-1B43-D7143F793118}"/>
          </ac:picMkLst>
        </pc:picChg>
        <pc:picChg chg="add mod ord">
          <ac:chgData name="Oluwagbotemi Oyefeso" userId="NwWFancOdn2fKbE7WQZiOo0sQfH+o74tpQygnAeMGXw=" providerId="None" clId="Web-{08E4F9C2-E30A-46E4-8730-3C8EDB324969}" dt="2024-12-04T17:50:54.520" v="26" actId="1076"/>
          <ac:picMkLst>
            <pc:docMk/>
            <pc:sldMk cId="1356658813" sldId="300"/>
            <ac:picMk id="14" creationId="{B452DD9F-95F5-F131-2C28-1A902BB546A6}"/>
          </ac:picMkLst>
        </pc:picChg>
      </pc:sldChg>
      <pc:sldChg chg="addSp delSp modSp">
        <pc:chgData name="Oluwagbotemi Oyefeso" userId="NwWFancOdn2fKbE7WQZiOo0sQfH+o74tpQygnAeMGXw=" providerId="None" clId="Web-{08E4F9C2-E30A-46E4-8730-3C8EDB324969}" dt="2024-12-04T18:33:36.134" v="70" actId="20577"/>
        <pc:sldMkLst>
          <pc:docMk/>
          <pc:sldMk cId="2444171830" sldId="301"/>
        </pc:sldMkLst>
        <pc:spChg chg="del">
          <ac:chgData name="Oluwagbotemi Oyefeso" userId="NwWFancOdn2fKbE7WQZiOo0sQfH+o74tpQygnAeMGXw=" providerId="None" clId="Web-{08E4F9C2-E30A-46E4-8730-3C8EDB324969}" dt="2024-12-04T18:32:13.913" v="36"/>
          <ac:spMkLst>
            <pc:docMk/>
            <pc:sldMk cId="2444171830" sldId="301"/>
            <ac:spMk id="2" creationId="{3E236DA4-B126-52C3-E16D-8C26F0080224}"/>
          </ac:spMkLst>
        </pc:spChg>
        <pc:spChg chg="mod">
          <ac:chgData name="Oluwagbotemi Oyefeso" userId="NwWFancOdn2fKbE7WQZiOo0sQfH+o74tpQygnAeMGXw=" providerId="None" clId="Web-{08E4F9C2-E30A-46E4-8730-3C8EDB324969}" dt="2024-12-04T18:33:36.134" v="70" actId="20577"/>
          <ac:spMkLst>
            <pc:docMk/>
            <pc:sldMk cId="2444171830" sldId="301"/>
            <ac:spMk id="3" creationId="{8D2BA737-60F8-41C7-197E-65D6FD780CEE}"/>
          </ac:spMkLst>
        </pc:spChg>
        <pc:spChg chg="del">
          <ac:chgData name="Oluwagbotemi Oyefeso" userId="NwWFancOdn2fKbE7WQZiOo0sQfH+o74tpQygnAeMGXw=" providerId="None" clId="Web-{08E4F9C2-E30A-46E4-8730-3C8EDB324969}" dt="2024-12-04T18:31:57.631" v="32"/>
          <ac:spMkLst>
            <pc:docMk/>
            <pc:sldMk cId="2444171830" sldId="301"/>
            <ac:spMk id="4" creationId="{D437A944-B6D1-4A9D-D2B6-9F07EA350A1F}"/>
          </ac:spMkLst>
        </pc:spChg>
        <pc:spChg chg="add del mod">
          <ac:chgData name="Oluwagbotemi Oyefeso" userId="NwWFancOdn2fKbE7WQZiOo0sQfH+o74tpQygnAeMGXw=" providerId="None" clId="Web-{08E4F9C2-E30A-46E4-8730-3C8EDB324969}" dt="2024-12-04T18:32:17.819" v="37"/>
          <ac:spMkLst>
            <pc:docMk/>
            <pc:sldMk cId="2444171830" sldId="301"/>
            <ac:spMk id="7" creationId="{8504E32A-E34D-83CA-E7C0-904D60AD5EF0}"/>
          </ac:spMkLst>
        </pc:spChg>
        <pc:picChg chg="add mod ord">
          <ac:chgData name="Oluwagbotemi Oyefeso" userId="NwWFancOdn2fKbE7WQZiOo0sQfH+o74tpQygnAeMGXw=" providerId="None" clId="Web-{08E4F9C2-E30A-46E4-8730-3C8EDB324969}" dt="2024-12-04T18:32:24.132" v="40" actId="1076"/>
          <ac:picMkLst>
            <pc:docMk/>
            <pc:sldMk cId="2444171830" sldId="301"/>
            <ac:picMk id="5" creationId="{8B0315C1-6304-572C-D1C0-8A7759E0DA93}"/>
          </ac:picMkLst>
        </pc:picChg>
      </pc:sldChg>
      <pc:sldChg chg="addSp delSp modSp">
        <pc:chgData name="Oluwagbotemi Oyefeso" userId="NwWFancOdn2fKbE7WQZiOo0sQfH+o74tpQygnAeMGXw=" providerId="None" clId="Web-{08E4F9C2-E30A-46E4-8730-3C8EDB324969}" dt="2024-12-04T21:14:10.770" v="164" actId="1076"/>
        <pc:sldMkLst>
          <pc:docMk/>
          <pc:sldMk cId="1243087442" sldId="303"/>
        </pc:sldMkLst>
        <pc:spChg chg="mod">
          <ac:chgData name="Oluwagbotemi Oyefeso" userId="NwWFancOdn2fKbE7WQZiOo0sQfH+o74tpQygnAeMGXw=" providerId="None" clId="Web-{08E4F9C2-E30A-46E4-8730-3C8EDB324969}" dt="2024-12-04T21:14:08.301" v="163" actId="1076"/>
          <ac:spMkLst>
            <pc:docMk/>
            <pc:sldMk cId="1243087442" sldId="303"/>
            <ac:spMk id="3" creationId="{05948542-FCE1-3AE6-C6C9-17975609DF70}"/>
          </ac:spMkLst>
        </pc:spChg>
        <pc:spChg chg="add mod">
          <ac:chgData name="Oluwagbotemi Oyefeso" userId="NwWFancOdn2fKbE7WQZiOo0sQfH+o74tpQygnAeMGXw=" providerId="None" clId="Web-{08E4F9C2-E30A-46E4-8730-3C8EDB324969}" dt="2024-12-04T21:14:10.770" v="164" actId="1076"/>
          <ac:spMkLst>
            <pc:docMk/>
            <pc:sldMk cId="1243087442" sldId="303"/>
            <ac:spMk id="5" creationId="{A9FD974E-AA84-694A-DC1D-6B931EAEFCE4}"/>
          </ac:spMkLst>
        </pc:spChg>
        <pc:picChg chg="add mod ord">
          <ac:chgData name="Oluwagbotemi Oyefeso" userId="NwWFancOdn2fKbE7WQZiOo0sQfH+o74tpQygnAeMGXw=" providerId="None" clId="Web-{08E4F9C2-E30A-46E4-8730-3C8EDB324969}" dt="2024-12-04T21:11:28.875" v="131" actId="1076"/>
          <ac:picMkLst>
            <pc:docMk/>
            <pc:sldMk cId="1243087442" sldId="303"/>
            <ac:picMk id="2" creationId="{12EA5143-DC53-DFEF-F867-3303CB0B756C}"/>
          </ac:picMkLst>
        </pc:picChg>
        <pc:picChg chg="del">
          <ac:chgData name="Oluwagbotemi Oyefeso" userId="NwWFancOdn2fKbE7WQZiOo0sQfH+o74tpQygnAeMGXw=" providerId="None" clId="Web-{08E4F9C2-E30A-46E4-8730-3C8EDB324969}" dt="2024-12-04T21:11:09.921" v="124"/>
          <ac:picMkLst>
            <pc:docMk/>
            <pc:sldMk cId="1243087442" sldId="303"/>
            <ac:picMk id="4" creationId="{043C3E56-090C-67A7-29B9-83136123BDA2}"/>
          </ac:picMkLst>
        </pc:picChg>
      </pc:sldChg>
      <pc:sldChg chg="addSp delSp modSp new">
        <pc:chgData name="Oluwagbotemi Oyefeso" userId="NwWFancOdn2fKbE7WQZiOo0sQfH+o74tpQygnAeMGXw=" providerId="None" clId="Web-{08E4F9C2-E30A-46E4-8730-3C8EDB324969}" dt="2024-12-04T21:05:40.053" v="110" actId="14100"/>
        <pc:sldMkLst>
          <pc:docMk/>
          <pc:sldMk cId="2559973890" sldId="312"/>
        </pc:sldMkLst>
        <pc:spChg chg="del">
          <ac:chgData name="Oluwagbotemi Oyefeso" userId="NwWFancOdn2fKbE7WQZiOo0sQfH+o74tpQygnAeMGXw=" providerId="None" clId="Web-{08E4F9C2-E30A-46E4-8730-3C8EDB324969}" dt="2024-12-04T21:05:33.724" v="109"/>
          <ac:spMkLst>
            <pc:docMk/>
            <pc:sldMk cId="2559973890" sldId="312"/>
            <ac:spMk id="2" creationId="{F3AD7690-5453-3ECE-894B-32AED14AA5CC}"/>
          </ac:spMkLst>
        </pc:spChg>
        <pc:spChg chg="del">
          <ac:chgData name="Oluwagbotemi Oyefeso" userId="NwWFancOdn2fKbE7WQZiOo0sQfH+o74tpQygnAeMGXw=" providerId="None" clId="Web-{08E4F9C2-E30A-46E4-8730-3C8EDB324969}" dt="2024-12-04T21:04:48.098" v="107"/>
          <ac:spMkLst>
            <pc:docMk/>
            <pc:sldMk cId="2559973890" sldId="312"/>
            <ac:spMk id="3" creationId="{EB4CEAD4-46C2-8C3D-9050-9C97133EEB97}"/>
          </ac:spMkLst>
        </pc:spChg>
        <pc:picChg chg="add mod ord">
          <ac:chgData name="Oluwagbotemi Oyefeso" userId="NwWFancOdn2fKbE7WQZiOo0sQfH+o74tpQygnAeMGXw=" providerId="None" clId="Web-{08E4F9C2-E30A-46E4-8730-3C8EDB324969}" dt="2024-12-04T21:05:40.053" v="110" actId="14100"/>
          <ac:picMkLst>
            <pc:docMk/>
            <pc:sldMk cId="2559973890" sldId="312"/>
            <ac:picMk id="4" creationId="{5958ED53-A406-3556-EA73-307867315D53}"/>
          </ac:picMkLst>
        </pc:picChg>
      </pc:sldChg>
    </pc:docChg>
  </pc:docChgLst>
  <pc:docChgLst>
    <pc:chgData name="Nhu Khue Nguyen Khac" userId="41zJ1LbGwkbEWFDME36H2XxhIovitOD4RY0J19yumig=" providerId="None" clId="Web-{58655B47-99DE-41BD-8CCE-5C5232E1A94C}"/>
    <pc:docChg chg="addSld modSld">
      <pc:chgData name="Nhu Khue Nguyen Khac" userId="41zJ1LbGwkbEWFDME36H2XxhIovitOD4RY0J19yumig=" providerId="None" clId="Web-{58655B47-99DE-41BD-8CCE-5C5232E1A94C}" dt="2024-11-26T21:35:48.785" v="324" actId="1076"/>
      <pc:docMkLst>
        <pc:docMk/>
      </pc:docMkLst>
      <pc:sldChg chg="modSp">
        <pc:chgData name="Nhu Khue Nguyen Khac" userId="41zJ1LbGwkbEWFDME36H2XxhIovitOD4RY0J19yumig=" providerId="None" clId="Web-{58655B47-99DE-41BD-8CCE-5C5232E1A94C}" dt="2024-11-26T20:50:15.354" v="10" actId="20577"/>
        <pc:sldMkLst>
          <pc:docMk/>
          <pc:sldMk cId="3054086706" sldId="283"/>
        </pc:sldMkLst>
      </pc:sldChg>
      <pc:sldChg chg="addSp delSp modSp add replId">
        <pc:chgData name="Nhu Khue Nguyen Khac" userId="41zJ1LbGwkbEWFDME36H2XxhIovitOD4RY0J19yumig=" providerId="None" clId="Web-{58655B47-99DE-41BD-8CCE-5C5232E1A94C}" dt="2024-11-26T20:53:47.235" v="79" actId="20577"/>
        <pc:sldMkLst>
          <pc:docMk/>
          <pc:sldMk cId="663182890" sldId="293"/>
        </pc:sldMkLst>
        <pc:spChg chg="mod">
          <ac:chgData name="Nhu Khue Nguyen Khac" userId="41zJ1LbGwkbEWFDME36H2XxhIovitOD4RY0J19yumig=" providerId="None" clId="Web-{58655B47-99DE-41BD-8CCE-5C5232E1A94C}" dt="2024-11-26T20:53:47.235" v="79" actId="20577"/>
          <ac:spMkLst>
            <pc:docMk/>
            <pc:sldMk cId="663182890" sldId="293"/>
            <ac:spMk id="3" creationId="{FACE640F-7F5A-BDB7-205D-765FA80B6796}"/>
          </ac:spMkLst>
        </pc:spChg>
        <pc:picChg chg="add mod ord">
          <ac:chgData name="Nhu Khue Nguyen Khac" userId="41zJ1LbGwkbEWFDME36H2XxhIovitOD4RY0J19yumig=" providerId="None" clId="Web-{58655B47-99DE-41BD-8CCE-5C5232E1A94C}" dt="2024-11-26T20:51:50.685" v="63" actId="1076"/>
          <ac:picMkLst>
            <pc:docMk/>
            <pc:sldMk cId="663182890" sldId="293"/>
            <ac:picMk id="5" creationId="{EC6E921B-4BFD-44B6-B8AA-32AA93D52084}"/>
          </ac:picMkLst>
        </pc:picChg>
      </pc:sldChg>
      <pc:sldChg chg="modSp add replId">
        <pc:chgData name="Nhu Khue Nguyen Khac" userId="41zJ1LbGwkbEWFDME36H2XxhIovitOD4RY0J19yumig=" providerId="None" clId="Web-{58655B47-99DE-41BD-8CCE-5C5232E1A94C}" dt="2024-11-26T21:35:26.284" v="315" actId="20577"/>
        <pc:sldMkLst>
          <pc:docMk/>
          <pc:sldMk cId="4278534278" sldId="294"/>
        </pc:sldMkLst>
      </pc:sldChg>
      <pc:sldChg chg="addSp delSp modSp new">
        <pc:chgData name="Nhu Khue Nguyen Khac" userId="41zJ1LbGwkbEWFDME36H2XxhIovitOD4RY0J19yumig=" providerId="None" clId="Web-{58655B47-99DE-41BD-8CCE-5C5232E1A94C}" dt="2024-11-26T21:35:48.785" v="324" actId="1076"/>
        <pc:sldMkLst>
          <pc:docMk/>
          <pc:sldMk cId="3221568206" sldId="295"/>
        </pc:sldMkLst>
        <pc:spChg chg="mod">
          <ac:chgData name="Nhu Khue Nguyen Khac" userId="41zJ1LbGwkbEWFDME36H2XxhIovitOD4RY0J19yumig=" providerId="None" clId="Web-{58655B47-99DE-41BD-8CCE-5C5232E1A94C}" dt="2024-11-26T21:35:48.785" v="324" actId="1076"/>
          <ac:spMkLst>
            <pc:docMk/>
            <pc:sldMk cId="3221568206" sldId="295"/>
            <ac:spMk id="4" creationId="{250D4176-7766-ED3A-4BEB-AD358FD4CA65}"/>
          </ac:spMkLst>
        </pc:spChg>
        <pc:picChg chg="add mod ord modCrop">
          <ac:chgData name="Nhu Khue Nguyen Khac" userId="41zJ1LbGwkbEWFDME36H2XxhIovitOD4RY0J19yumig=" providerId="None" clId="Web-{58655B47-99DE-41BD-8CCE-5C5232E1A94C}" dt="2024-11-26T21:34:59.533" v="304" actId="14100"/>
          <ac:picMkLst>
            <pc:docMk/>
            <pc:sldMk cId="3221568206" sldId="295"/>
            <ac:picMk id="5" creationId="{70A797EC-B211-50B9-4D05-A2E838F203FE}"/>
          </ac:picMkLst>
        </pc:picChg>
      </pc:sldChg>
    </pc:docChg>
  </pc:docChgLst>
  <pc:docChgLst>
    <pc:chgData name="Oluwagbotemi Oyefeso" userId="NwWFancOdn2fKbE7WQZiOo0sQfH+o74tpQygnAeMGXw=" providerId="None" clId="Web-{ADA76574-5F65-4D23-BAA6-7A98C5B54733}"/>
    <pc:docChg chg="addSld delSld modSld sldOrd">
      <pc:chgData name="Oluwagbotemi Oyefeso" userId="NwWFancOdn2fKbE7WQZiOo0sQfH+o74tpQygnAeMGXw=" providerId="None" clId="Web-{ADA76574-5F65-4D23-BAA6-7A98C5B54733}" dt="2024-11-22T23:55:46.431" v="40"/>
      <pc:docMkLst>
        <pc:docMk/>
      </pc:docMkLst>
      <pc:sldChg chg="addSp delSp modSp ord">
        <pc:chgData name="Oluwagbotemi Oyefeso" userId="NwWFancOdn2fKbE7WQZiOo0sQfH+o74tpQygnAeMGXw=" providerId="None" clId="Web-{ADA76574-5F65-4D23-BAA6-7A98C5B54733}" dt="2024-11-22T23:55:46.431" v="40"/>
        <pc:sldMkLst>
          <pc:docMk/>
          <pc:sldMk cId="370945181" sldId="275"/>
        </pc:sldMkLst>
        <pc:picChg chg="add mod">
          <ac:chgData name="Oluwagbotemi Oyefeso" userId="NwWFancOdn2fKbE7WQZiOo0sQfH+o74tpQygnAeMGXw=" providerId="None" clId="Web-{ADA76574-5F65-4D23-BAA6-7A98C5B54733}" dt="2024-11-22T23:55:38.868" v="38"/>
          <ac:picMkLst>
            <pc:docMk/>
            <pc:sldMk cId="370945181" sldId="275"/>
            <ac:picMk id="6" creationId="{73B85D83-8BED-AE17-22E7-FF59905A9D73}"/>
          </ac:picMkLst>
        </pc:picChg>
      </pc:sldChg>
      <pc:sldChg chg="addSp delSp modSp ord">
        <pc:chgData name="Oluwagbotemi Oyefeso" userId="NwWFancOdn2fKbE7WQZiOo0sQfH+o74tpQygnAeMGXw=" providerId="None" clId="Web-{ADA76574-5F65-4D23-BAA6-7A98C5B54733}" dt="2024-11-22T23:55:10.460" v="30"/>
        <pc:sldMkLst>
          <pc:docMk/>
          <pc:sldMk cId="1667462095" sldId="282"/>
        </pc:sldMkLst>
        <pc:picChg chg="add mod ord">
          <ac:chgData name="Oluwagbotemi Oyefeso" userId="NwWFancOdn2fKbE7WQZiOo0sQfH+o74tpQygnAeMGXw=" providerId="None" clId="Web-{ADA76574-5F65-4D23-BAA6-7A98C5B54733}" dt="2024-11-22T23:54:59.897" v="28" actId="14100"/>
          <ac:picMkLst>
            <pc:docMk/>
            <pc:sldMk cId="1667462095" sldId="282"/>
            <ac:picMk id="7" creationId="{055CC517-9CB3-7281-3A9F-9A3011F29593}"/>
          </ac:picMkLst>
        </pc:picChg>
      </pc:sldChg>
      <pc:sldChg chg="addSp delSp modSp">
        <pc:chgData name="Oluwagbotemi Oyefeso" userId="NwWFancOdn2fKbE7WQZiOo0sQfH+o74tpQygnAeMGXw=" providerId="None" clId="Web-{ADA76574-5F65-4D23-BAA6-7A98C5B54733}" dt="2024-11-22T23:55:26.805" v="35" actId="14100"/>
        <pc:sldMkLst>
          <pc:docMk/>
          <pc:sldMk cId="2653790617" sldId="289"/>
        </pc:sldMkLst>
        <pc:picChg chg="add mod ord">
          <ac:chgData name="Oluwagbotemi Oyefeso" userId="NwWFancOdn2fKbE7WQZiOo0sQfH+o74tpQygnAeMGXw=" providerId="None" clId="Web-{ADA76574-5F65-4D23-BAA6-7A98C5B54733}" dt="2024-11-22T23:55:26.805" v="35" actId="14100"/>
          <ac:picMkLst>
            <pc:docMk/>
            <pc:sldMk cId="2653790617" sldId="289"/>
            <ac:picMk id="4" creationId="{5B05B289-99AA-CA7C-5F19-485F036A2442}"/>
          </ac:picMkLst>
        </pc:picChg>
      </pc:sldChg>
      <pc:sldChg chg="addSp delSp modSp del">
        <pc:chgData name="Oluwagbotemi Oyefeso" userId="NwWFancOdn2fKbE7WQZiOo0sQfH+o74tpQygnAeMGXw=" providerId="None" clId="Web-{ADA76574-5F65-4D23-BAA6-7A98C5B54733}" dt="2024-11-22T23:55:41.025" v="39"/>
        <pc:sldMkLst>
          <pc:docMk/>
          <pc:sldMk cId="4158366382" sldId="293"/>
        </pc:sldMkLst>
      </pc:sldChg>
      <pc:sldChg chg="addSp delSp modSp new del">
        <pc:chgData name="Oluwagbotemi Oyefeso" userId="NwWFancOdn2fKbE7WQZiOo0sQfH+o74tpQygnAeMGXw=" providerId="None" clId="Web-{ADA76574-5F65-4D23-BAA6-7A98C5B54733}" dt="2024-11-22T23:55:03.553" v="29"/>
        <pc:sldMkLst>
          <pc:docMk/>
          <pc:sldMk cId="911418760" sldId="294"/>
        </pc:sldMkLst>
      </pc:sldChg>
    </pc:docChg>
  </pc:docChgLst>
  <pc:docChgLst>
    <pc:chgData name="Joseph McClain" userId="rNcuIkpNcXRbXo+imjyPebZPVbX53SDT6rKHS6j8qNw=" providerId="None" clId="Web-{41B0AC47-6A6B-4F2C-882B-D06F82C1B4A3}"/>
    <pc:docChg chg="addSld delSld modSld sldOrd">
      <pc:chgData name="Joseph McClain" userId="rNcuIkpNcXRbXo+imjyPebZPVbX53SDT6rKHS6j8qNw=" providerId="None" clId="Web-{41B0AC47-6A6B-4F2C-882B-D06F82C1B4A3}" dt="2024-12-04T05:03:11.775" v="407" actId="20577"/>
      <pc:docMkLst>
        <pc:docMk/>
      </pc:docMkLst>
      <pc:sldChg chg="addSp delSp modSp">
        <pc:chgData name="Joseph McClain" userId="rNcuIkpNcXRbXo+imjyPebZPVbX53SDT6rKHS6j8qNw=" providerId="None" clId="Web-{41B0AC47-6A6B-4F2C-882B-D06F82C1B4A3}" dt="2024-12-04T04:40:35.562" v="353" actId="20577"/>
        <pc:sldMkLst>
          <pc:docMk/>
          <pc:sldMk cId="1420595414" sldId="281"/>
        </pc:sldMkLst>
        <pc:spChg chg="mod">
          <ac:chgData name="Joseph McClain" userId="rNcuIkpNcXRbXo+imjyPebZPVbX53SDT6rKHS6j8qNw=" providerId="None" clId="Web-{41B0AC47-6A6B-4F2C-882B-D06F82C1B4A3}" dt="2024-12-04T03:11:53.380" v="240" actId="20577"/>
          <ac:spMkLst>
            <pc:docMk/>
            <pc:sldMk cId="1420595414" sldId="281"/>
            <ac:spMk id="2" creationId="{47A9874B-BCA9-8420-1595-EDD1865A099A}"/>
          </ac:spMkLst>
        </pc:spChg>
        <pc:spChg chg="mod">
          <ac:chgData name="Joseph McClain" userId="rNcuIkpNcXRbXo+imjyPebZPVbX53SDT6rKHS6j8qNw=" providerId="None" clId="Web-{41B0AC47-6A6B-4F2C-882B-D06F82C1B4A3}" dt="2024-12-04T04:40:35.562" v="353" actId="20577"/>
          <ac:spMkLst>
            <pc:docMk/>
            <pc:sldMk cId="1420595414" sldId="281"/>
            <ac:spMk id="3" creationId="{68A5FD2B-E3E5-1C2B-0151-21F216B14A33}"/>
          </ac:spMkLst>
        </pc:spChg>
        <pc:spChg chg="del">
          <ac:chgData name="Joseph McClain" userId="rNcuIkpNcXRbXo+imjyPebZPVbX53SDT6rKHS6j8qNw=" providerId="None" clId="Web-{41B0AC47-6A6B-4F2C-882B-D06F82C1B4A3}" dt="2024-12-04T03:01:07.032" v="87"/>
          <ac:spMkLst>
            <pc:docMk/>
            <pc:sldMk cId="1420595414" sldId="281"/>
            <ac:spMk id="4" creationId="{ACFBB810-3430-2C29-1AA0-9744AA0A1AA3}"/>
          </ac:spMkLst>
        </pc:spChg>
        <pc:spChg chg="add mod">
          <ac:chgData name="Joseph McClain" userId="rNcuIkpNcXRbXo+imjyPebZPVbX53SDT6rKHS6j8qNw=" providerId="None" clId="Web-{41B0AC47-6A6B-4F2C-882B-D06F82C1B4A3}" dt="2024-12-04T03:05:56.353" v="139" actId="1076"/>
          <ac:spMkLst>
            <pc:docMk/>
            <pc:sldMk cId="1420595414" sldId="281"/>
            <ac:spMk id="6" creationId="{3C364596-E9AA-F89F-A71B-F9B5D3265858}"/>
          </ac:spMkLst>
        </pc:spChg>
        <pc:picChg chg="add mod">
          <ac:chgData name="Joseph McClain" userId="rNcuIkpNcXRbXo+imjyPebZPVbX53SDT6rKHS6j8qNw=" providerId="None" clId="Web-{41B0AC47-6A6B-4F2C-882B-D06F82C1B4A3}" dt="2024-12-04T03:05:40.947" v="114" actId="1076"/>
          <ac:picMkLst>
            <pc:docMk/>
            <pc:sldMk cId="1420595414" sldId="281"/>
            <ac:picMk id="5" creationId="{F2A749F0-CE36-4E92-4935-87E1D8E3A958}"/>
          </ac:picMkLst>
        </pc:picChg>
      </pc:sldChg>
      <pc:sldChg chg="modSp">
        <pc:chgData name="Joseph McClain" userId="rNcuIkpNcXRbXo+imjyPebZPVbX53SDT6rKHS6j8qNw=" providerId="None" clId="Web-{41B0AC47-6A6B-4F2C-882B-D06F82C1B4A3}" dt="2024-12-04T03:00:42.609" v="86" actId="20577"/>
        <pc:sldMkLst>
          <pc:docMk/>
          <pc:sldMk cId="1008996467" sldId="290"/>
        </pc:sldMkLst>
        <pc:spChg chg="mod">
          <ac:chgData name="Joseph McClain" userId="rNcuIkpNcXRbXo+imjyPebZPVbX53SDT6rKHS6j8qNw=" providerId="None" clId="Web-{41B0AC47-6A6B-4F2C-882B-D06F82C1B4A3}" dt="2024-12-04T03:00:14.859" v="83" actId="14100"/>
          <ac:spMkLst>
            <pc:docMk/>
            <pc:sldMk cId="1008996467" sldId="290"/>
            <ac:spMk id="2" creationId="{9635F5E3-2B1C-7C0A-8581-67A9052D13AA}"/>
          </ac:spMkLst>
        </pc:spChg>
        <pc:spChg chg="mod">
          <ac:chgData name="Joseph McClain" userId="rNcuIkpNcXRbXo+imjyPebZPVbX53SDT6rKHS6j8qNw=" providerId="None" clId="Web-{41B0AC47-6A6B-4F2C-882B-D06F82C1B4A3}" dt="2024-12-04T03:00:42.609" v="86" actId="20577"/>
          <ac:spMkLst>
            <pc:docMk/>
            <pc:sldMk cId="1008996467" sldId="290"/>
            <ac:spMk id="3" creationId="{A6A33159-D030-2F82-A142-F75940728319}"/>
          </ac:spMkLst>
        </pc:spChg>
      </pc:sldChg>
      <pc:sldChg chg="delSp modSp">
        <pc:chgData name="Joseph McClain" userId="rNcuIkpNcXRbXo+imjyPebZPVbX53SDT6rKHS6j8qNw=" providerId="None" clId="Web-{41B0AC47-6A6B-4F2C-882B-D06F82C1B4A3}" dt="2024-12-04T05:03:11.775" v="407" actId="20577"/>
        <pc:sldMkLst>
          <pc:docMk/>
          <pc:sldMk cId="3087385754" sldId="291"/>
        </pc:sldMkLst>
        <pc:spChg chg="mod">
          <ac:chgData name="Joseph McClain" userId="rNcuIkpNcXRbXo+imjyPebZPVbX53SDT6rKHS6j8qNw=" providerId="None" clId="Web-{41B0AC47-6A6B-4F2C-882B-D06F82C1B4A3}" dt="2024-12-04T05:00:41.833" v="363" actId="20577"/>
          <ac:spMkLst>
            <pc:docMk/>
            <pc:sldMk cId="3087385754" sldId="291"/>
            <ac:spMk id="2" creationId="{47A9874B-BCA9-8420-1595-EDD1865A099A}"/>
          </ac:spMkLst>
        </pc:spChg>
        <pc:spChg chg="mod">
          <ac:chgData name="Joseph McClain" userId="rNcuIkpNcXRbXo+imjyPebZPVbX53SDT6rKHS6j8qNw=" providerId="None" clId="Web-{41B0AC47-6A6B-4F2C-882B-D06F82C1B4A3}" dt="2024-12-04T05:03:11.775" v="407" actId="20577"/>
          <ac:spMkLst>
            <pc:docMk/>
            <pc:sldMk cId="3087385754" sldId="291"/>
            <ac:spMk id="3" creationId="{68A5FD2B-E3E5-1C2B-0151-21F216B14A33}"/>
          </ac:spMkLst>
        </pc:spChg>
        <pc:spChg chg="del">
          <ac:chgData name="Joseph McClain" userId="rNcuIkpNcXRbXo+imjyPebZPVbX53SDT6rKHS6j8qNw=" providerId="None" clId="Web-{41B0AC47-6A6B-4F2C-882B-D06F82C1B4A3}" dt="2024-12-04T03:17:20.905" v="259"/>
          <ac:spMkLst>
            <pc:docMk/>
            <pc:sldMk cId="3087385754" sldId="291"/>
            <ac:spMk id="4" creationId="{ACFBB810-3430-2C29-1AA0-9744AA0A1AA3}"/>
          </ac:spMkLst>
        </pc:spChg>
      </pc:sldChg>
      <pc:sldChg chg="delSp modSp add replId">
        <pc:chgData name="Joseph McClain" userId="rNcuIkpNcXRbXo+imjyPebZPVbX53SDT6rKHS6j8qNw=" providerId="None" clId="Web-{41B0AC47-6A6B-4F2C-882B-D06F82C1B4A3}" dt="2024-12-04T04:39:23.028" v="329" actId="1076"/>
        <pc:sldMkLst>
          <pc:docMk/>
          <pc:sldMk cId="999493280" sldId="305"/>
        </pc:sldMkLst>
        <pc:spChg chg="mod">
          <ac:chgData name="Joseph McClain" userId="rNcuIkpNcXRbXo+imjyPebZPVbX53SDT6rKHS6j8qNw=" providerId="None" clId="Web-{41B0AC47-6A6B-4F2C-882B-D06F82C1B4A3}" dt="2024-12-04T03:22:44.447" v="282" actId="1076"/>
          <ac:spMkLst>
            <pc:docMk/>
            <pc:sldMk cId="999493280" sldId="305"/>
            <ac:spMk id="2" creationId="{47A9874B-BCA9-8420-1595-EDD1865A099A}"/>
          </ac:spMkLst>
        </pc:spChg>
        <pc:spChg chg="mod">
          <ac:chgData name="Joseph McClain" userId="rNcuIkpNcXRbXo+imjyPebZPVbX53SDT6rKHS6j8qNw=" providerId="None" clId="Web-{41B0AC47-6A6B-4F2C-882B-D06F82C1B4A3}" dt="2024-12-04T04:39:23.028" v="329" actId="1076"/>
          <ac:spMkLst>
            <pc:docMk/>
            <pc:sldMk cId="999493280" sldId="305"/>
            <ac:spMk id="3" creationId="{68A5FD2B-E3E5-1C2B-0151-21F216B14A33}"/>
          </ac:spMkLst>
        </pc:spChg>
        <pc:spChg chg="del">
          <ac:chgData name="Joseph McClain" userId="rNcuIkpNcXRbXo+imjyPebZPVbX53SDT6rKHS6j8qNw=" providerId="None" clId="Web-{41B0AC47-6A6B-4F2C-882B-D06F82C1B4A3}" dt="2024-12-04T03:07:31.216" v="143"/>
          <ac:spMkLst>
            <pc:docMk/>
            <pc:sldMk cId="999493280" sldId="305"/>
            <ac:spMk id="4" creationId="{ACFBB810-3430-2C29-1AA0-9744AA0A1AA3}"/>
          </ac:spMkLst>
        </pc:spChg>
      </pc:sldChg>
      <pc:sldChg chg="new del">
        <pc:chgData name="Joseph McClain" userId="rNcuIkpNcXRbXo+imjyPebZPVbX53SDT6rKHS6j8qNw=" providerId="None" clId="Web-{41B0AC47-6A6B-4F2C-882B-D06F82C1B4A3}" dt="2024-12-04T02:57:08.618" v="33"/>
        <pc:sldMkLst>
          <pc:docMk/>
          <pc:sldMk cId="1088019078" sldId="305"/>
        </pc:sldMkLst>
      </pc:sldChg>
      <pc:sldChg chg="addSp delSp modSp new">
        <pc:chgData name="Joseph McClain" userId="rNcuIkpNcXRbXo+imjyPebZPVbX53SDT6rKHS6j8qNw=" providerId="None" clId="Web-{41B0AC47-6A6B-4F2C-882B-D06F82C1B4A3}" dt="2024-12-04T03:10:54.050" v="228" actId="20577"/>
        <pc:sldMkLst>
          <pc:docMk/>
          <pc:sldMk cId="4187568233" sldId="306"/>
        </pc:sldMkLst>
        <pc:spChg chg="del mod">
          <ac:chgData name="Joseph McClain" userId="rNcuIkpNcXRbXo+imjyPebZPVbX53SDT6rKHS6j8qNw=" providerId="None" clId="Web-{41B0AC47-6A6B-4F2C-882B-D06F82C1B4A3}" dt="2024-12-04T03:10:38.815" v="226"/>
          <ac:spMkLst>
            <pc:docMk/>
            <pc:sldMk cId="4187568233" sldId="306"/>
            <ac:spMk id="2" creationId="{4A95F9A1-D12F-A519-E457-1F2CAB3ED76F}"/>
          </ac:spMkLst>
        </pc:spChg>
        <pc:spChg chg="del">
          <ac:chgData name="Joseph McClain" userId="rNcuIkpNcXRbXo+imjyPebZPVbX53SDT6rKHS6j8qNw=" providerId="None" clId="Web-{41B0AC47-6A6B-4F2C-882B-D06F82C1B4A3}" dt="2024-12-04T03:09:27.391" v="189"/>
          <ac:spMkLst>
            <pc:docMk/>
            <pc:sldMk cId="4187568233" sldId="306"/>
            <ac:spMk id="3" creationId="{F448F66A-A8C4-2C95-A054-86E5DB9DCC07}"/>
          </ac:spMkLst>
        </pc:spChg>
        <pc:spChg chg="del">
          <ac:chgData name="Joseph McClain" userId="rNcuIkpNcXRbXo+imjyPebZPVbX53SDT6rKHS6j8qNw=" providerId="None" clId="Web-{41B0AC47-6A6B-4F2C-882B-D06F82C1B4A3}" dt="2024-12-04T03:08:34.796" v="188"/>
          <ac:spMkLst>
            <pc:docMk/>
            <pc:sldMk cId="4187568233" sldId="306"/>
            <ac:spMk id="4" creationId="{BC30F568-F444-77AA-FEE0-10E17A41E1D4}"/>
          </ac:spMkLst>
        </pc:spChg>
        <pc:spChg chg="add mod">
          <ac:chgData name="Joseph McClain" userId="rNcuIkpNcXRbXo+imjyPebZPVbX53SDT6rKHS6j8qNw=" providerId="None" clId="Web-{41B0AC47-6A6B-4F2C-882B-D06F82C1B4A3}" dt="2024-12-04T03:10:54.050" v="228" actId="20577"/>
          <ac:spMkLst>
            <pc:docMk/>
            <pc:sldMk cId="4187568233" sldId="306"/>
            <ac:spMk id="7" creationId="{AF339DDD-F5AD-640F-541D-06CFFCBCB43D}"/>
          </ac:spMkLst>
        </pc:spChg>
        <pc:picChg chg="add mod ord">
          <ac:chgData name="Joseph McClain" userId="rNcuIkpNcXRbXo+imjyPebZPVbX53SDT6rKHS6j8qNw=" providerId="None" clId="Web-{41B0AC47-6A6B-4F2C-882B-D06F82C1B4A3}" dt="2024-12-04T03:10:44.050" v="227" actId="1076"/>
          <ac:picMkLst>
            <pc:docMk/>
            <pc:sldMk cId="4187568233" sldId="306"/>
            <ac:picMk id="5" creationId="{CCA4831D-2323-CDFB-CFCC-0E52245EEDA7}"/>
          </ac:picMkLst>
        </pc:picChg>
      </pc:sldChg>
      <pc:sldChg chg="addSp delSp modSp new">
        <pc:chgData name="Joseph McClain" userId="rNcuIkpNcXRbXo+imjyPebZPVbX53SDT6rKHS6j8qNw=" providerId="None" clId="Web-{41B0AC47-6A6B-4F2C-882B-D06F82C1B4A3}" dt="2024-12-04T03:18:09.735" v="271" actId="1076"/>
        <pc:sldMkLst>
          <pc:docMk/>
          <pc:sldMk cId="707908050" sldId="309"/>
        </pc:sldMkLst>
        <pc:spChg chg="mod">
          <ac:chgData name="Joseph McClain" userId="rNcuIkpNcXRbXo+imjyPebZPVbX53SDT6rKHS6j8qNw=" providerId="None" clId="Web-{41B0AC47-6A6B-4F2C-882B-D06F82C1B4A3}" dt="2024-12-04T03:17:50.407" v="265" actId="20577"/>
          <ac:spMkLst>
            <pc:docMk/>
            <pc:sldMk cId="707908050" sldId="309"/>
            <ac:spMk id="2" creationId="{6D1FB2C5-DB17-57A5-F4E2-7C66AEFFDA68}"/>
          </ac:spMkLst>
        </pc:spChg>
        <pc:spChg chg="del">
          <ac:chgData name="Joseph McClain" userId="rNcuIkpNcXRbXo+imjyPebZPVbX53SDT6rKHS6j8qNw=" providerId="None" clId="Web-{41B0AC47-6A6B-4F2C-882B-D06F82C1B4A3}" dt="2024-12-04T03:17:47.375" v="263"/>
          <ac:spMkLst>
            <pc:docMk/>
            <pc:sldMk cId="707908050" sldId="309"/>
            <ac:spMk id="3" creationId="{EE89BE02-686E-020C-7870-2637C8E4ADBA}"/>
          </ac:spMkLst>
        </pc:spChg>
        <pc:spChg chg="del">
          <ac:chgData name="Joseph McClain" userId="rNcuIkpNcXRbXo+imjyPebZPVbX53SDT6rKHS6j8qNw=" providerId="None" clId="Web-{41B0AC47-6A6B-4F2C-882B-D06F82C1B4A3}" dt="2024-12-04T03:17:49.641" v="264"/>
          <ac:spMkLst>
            <pc:docMk/>
            <pc:sldMk cId="707908050" sldId="309"/>
            <ac:spMk id="4" creationId="{0AB9D705-93D1-C6ED-6F3D-6834154647D4}"/>
          </ac:spMkLst>
        </pc:spChg>
        <pc:picChg chg="add mod ord">
          <ac:chgData name="Joseph McClain" userId="rNcuIkpNcXRbXo+imjyPebZPVbX53SDT6rKHS6j8qNw=" providerId="None" clId="Web-{41B0AC47-6A6B-4F2C-882B-D06F82C1B4A3}" dt="2024-12-04T03:18:09.735" v="271" actId="1076"/>
          <ac:picMkLst>
            <pc:docMk/>
            <pc:sldMk cId="707908050" sldId="309"/>
            <ac:picMk id="5" creationId="{F4D9CE51-61C0-3108-7CDF-D1EFF40C1081}"/>
          </ac:picMkLst>
        </pc:picChg>
      </pc:sldChg>
      <pc:sldChg chg="addSp delSp modSp add ord replId">
        <pc:chgData name="Joseph McClain" userId="rNcuIkpNcXRbXo+imjyPebZPVbX53SDT6rKHS6j8qNw=" providerId="None" clId="Web-{41B0AC47-6A6B-4F2C-882B-D06F82C1B4A3}" dt="2024-12-04T04:52:09.631" v="362" actId="1076"/>
        <pc:sldMkLst>
          <pc:docMk/>
          <pc:sldMk cId="3019616184" sldId="311"/>
        </pc:sldMkLst>
        <pc:spChg chg="add del mod">
          <ac:chgData name="Joseph McClain" userId="rNcuIkpNcXRbXo+imjyPebZPVbX53SDT6rKHS6j8qNw=" providerId="None" clId="Web-{41B0AC47-6A6B-4F2C-882B-D06F82C1B4A3}" dt="2024-12-04T04:51:52.256" v="358"/>
          <ac:spMkLst>
            <pc:docMk/>
            <pc:sldMk cId="3019616184" sldId="311"/>
            <ac:spMk id="4" creationId="{06A3D2D4-1AB1-60BD-6D3D-724993BC1B20}"/>
          </ac:spMkLst>
        </pc:spChg>
        <pc:picChg chg="del">
          <ac:chgData name="Joseph McClain" userId="rNcuIkpNcXRbXo+imjyPebZPVbX53SDT6rKHS6j8qNw=" providerId="None" clId="Web-{41B0AC47-6A6B-4F2C-882B-D06F82C1B4A3}" dt="2024-12-04T04:51:46.693" v="357"/>
          <ac:picMkLst>
            <pc:docMk/>
            <pc:sldMk cId="3019616184" sldId="311"/>
            <ac:picMk id="5" creationId="{F4D9CE51-61C0-3108-7CDF-D1EFF40C1081}"/>
          </ac:picMkLst>
        </pc:picChg>
        <pc:picChg chg="add mod ord">
          <ac:chgData name="Joseph McClain" userId="rNcuIkpNcXRbXo+imjyPebZPVbX53SDT6rKHS6j8qNw=" providerId="None" clId="Web-{41B0AC47-6A6B-4F2C-882B-D06F82C1B4A3}" dt="2024-12-04T04:52:09.631" v="362" actId="1076"/>
          <ac:picMkLst>
            <pc:docMk/>
            <pc:sldMk cId="3019616184" sldId="311"/>
            <ac:picMk id="6" creationId="{18DCE7DD-B0A0-5E98-D6F0-02DCC18ED879}"/>
          </ac:picMkLst>
        </pc:picChg>
      </pc:sldChg>
    </pc:docChg>
  </pc:docChgLst>
  <pc:docChgLst>
    <pc:chgData name="Oluwagbotemi Oyefeso" userId="NwWFancOdn2fKbE7WQZiOo0sQfH+o74tpQygnAeMGXw=" providerId="None" clId="Web-{20D026BC-A1B5-46E1-8D39-3EC12D3531ED}"/>
    <pc:docChg chg="addSld delSld modSld sldOrd addMainMaster modMainMaster">
      <pc:chgData name="Oluwagbotemi Oyefeso" userId="NwWFancOdn2fKbE7WQZiOo0sQfH+o74tpQygnAeMGXw=" providerId="None" clId="Web-{20D026BC-A1B5-46E1-8D39-3EC12D3531ED}" dt="2024-12-04T04:25:21.961" v="215" actId="1076"/>
      <pc:docMkLst>
        <pc:docMk/>
      </pc:docMkLst>
      <pc:sldChg chg="addSp delSp modSp">
        <pc:chgData name="Oluwagbotemi Oyefeso" userId="NwWFancOdn2fKbE7WQZiOo0sQfH+o74tpQygnAeMGXw=" providerId="None" clId="Web-{20D026BC-A1B5-46E1-8D39-3EC12D3531ED}" dt="2024-12-04T03:26:06.384" v="134" actId="14100"/>
        <pc:sldMkLst>
          <pc:docMk/>
          <pc:sldMk cId="1008037533" sldId="259"/>
        </pc:sldMkLst>
        <pc:spChg chg="del">
          <ac:chgData name="Oluwagbotemi Oyefeso" userId="NwWFancOdn2fKbE7WQZiOo0sQfH+o74tpQygnAeMGXw=" providerId="None" clId="Web-{20D026BC-A1B5-46E1-8D39-3EC12D3531ED}" dt="2024-12-04T03:25:59.789" v="132"/>
          <ac:spMkLst>
            <pc:docMk/>
            <pc:sldMk cId="1008037533" sldId="259"/>
            <ac:spMk id="11" creationId="{F4583933-95EE-13B0-55ED-7B10E3D3867E}"/>
          </ac:spMkLst>
        </pc:spChg>
        <pc:picChg chg="add mod">
          <ac:chgData name="Oluwagbotemi Oyefeso" userId="NwWFancOdn2fKbE7WQZiOo0sQfH+o74tpQygnAeMGXw=" providerId="None" clId="Web-{20D026BC-A1B5-46E1-8D39-3EC12D3531ED}" dt="2024-12-04T03:26:06.384" v="134" actId="14100"/>
          <ac:picMkLst>
            <pc:docMk/>
            <pc:sldMk cId="1008037533" sldId="259"/>
            <ac:picMk id="3" creationId="{F4109E65-E6EE-30AB-9FB4-A3C2525925FC}"/>
          </ac:picMkLst>
        </pc:picChg>
      </pc:sldChg>
      <pc:sldChg chg="modSp add del ord">
        <pc:chgData name="Oluwagbotemi Oyefeso" userId="NwWFancOdn2fKbE7WQZiOo0sQfH+o74tpQygnAeMGXw=" providerId="None" clId="Web-{20D026BC-A1B5-46E1-8D39-3EC12D3531ED}" dt="2024-12-04T04:25:21.961" v="215" actId="1076"/>
        <pc:sldMkLst>
          <pc:docMk/>
          <pc:sldMk cId="1385868049" sldId="261"/>
        </pc:sldMkLst>
        <pc:spChg chg="mod">
          <ac:chgData name="Oluwagbotemi Oyefeso" userId="NwWFancOdn2fKbE7WQZiOo0sQfH+o74tpQygnAeMGXw=" providerId="None" clId="Web-{20D026BC-A1B5-46E1-8D39-3EC12D3531ED}" dt="2024-12-04T03:18:20.060" v="59" actId="1076"/>
          <ac:spMkLst>
            <pc:docMk/>
            <pc:sldMk cId="1385868049" sldId="261"/>
            <ac:spMk id="162" creationId="{20CD9FAB-1873-6D6C-935B-099F763C27B1}"/>
          </ac:spMkLst>
        </pc:spChg>
        <pc:spChg chg="mod">
          <ac:chgData name="Oluwagbotemi Oyefeso" userId="NwWFancOdn2fKbE7WQZiOo0sQfH+o74tpQygnAeMGXw=" providerId="None" clId="Web-{20D026BC-A1B5-46E1-8D39-3EC12D3531ED}" dt="2024-12-04T03:18:20.091" v="60" actId="1076"/>
          <ac:spMkLst>
            <pc:docMk/>
            <pc:sldMk cId="1385868049" sldId="261"/>
            <ac:spMk id="163" creationId="{AB6A3656-D5DE-9129-87AC-1A5E20334892}"/>
          </ac:spMkLst>
        </pc:spChg>
        <pc:spChg chg="mod">
          <ac:chgData name="Oluwagbotemi Oyefeso" userId="NwWFancOdn2fKbE7WQZiOo0sQfH+o74tpQygnAeMGXw=" providerId="None" clId="Web-{20D026BC-A1B5-46E1-8D39-3EC12D3531ED}" dt="2024-12-04T03:18:20.123" v="61" actId="1076"/>
          <ac:spMkLst>
            <pc:docMk/>
            <pc:sldMk cId="1385868049" sldId="261"/>
            <ac:spMk id="166" creationId="{C812296B-C4C4-42A5-6F98-55E3EE4372DB}"/>
          </ac:spMkLst>
        </pc:spChg>
        <pc:spChg chg="mod">
          <ac:chgData name="Oluwagbotemi Oyefeso" userId="NwWFancOdn2fKbE7WQZiOo0sQfH+o74tpQygnAeMGXw=" providerId="None" clId="Web-{20D026BC-A1B5-46E1-8D39-3EC12D3531ED}" dt="2024-12-04T03:18:20.169" v="62" actId="1076"/>
          <ac:spMkLst>
            <pc:docMk/>
            <pc:sldMk cId="1385868049" sldId="261"/>
            <ac:spMk id="167" creationId="{24125357-C834-0689-4281-5DBACCB830AF}"/>
          </ac:spMkLst>
        </pc:spChg>
        <pc:spChg chg="mod">
          <ac:chgData name="Oluwagbotemi Oyefeso" userId="NwWFancOdn2fKbE7WQZiOo0sQfH+o74tpQygnAeMGXw=" providerId="None" clId="Web-{20D026BC-A1B5-46E1-8D39-3EC12D3531ED}" dt="2024-12-04T03:18:20.216" v="63" actId="1076"/>
          <ac:spMkLst>
            <pc:docMk/>
            <pc:sldMk cId="1385868049" sldId="261"/>
            <ac:spMk id="168" creationId="{16B5B497-E49B-F896-1A73-EC4D686748A7}"/>
          </ac:spMkLst>
        </pc:spChg>
        <pc:spChg chg="mod">
          <ac:chgData name="Oluwagbotemi Oyefeso" userId="NwWFancOdn2fKbE7WQZiOo0sQfH+o74tpQygnAeMGXw=" providerId="None" clId="Web-{20D026BC-A1B5-46E1-8D39-3EC12D3531ED}" dt="2024-12-04T03:18:40.421" v="100" actId="1076"/>
          <ac:spMkLst>
            <pc:docMk/>
            <pc:sldMk cId="1385868049" sldId="261"/>
            <ac:spMk id="186" creationId="{8E796BFF-5F88-D691-82CE-6A9C416B7E8C}"/>
          </ac:spMkLst>
        </pc:spChg>
        <pc:spChg chg="mod">
          <ac:chgData name="Oluwagbotemi Oyefeso" userId="NwWFancOdn2fKbE7WQZiOo0sQfH+o74tpQygnAeMGXw=" providerId="None" clId="Web-{20D026BC-A1B5-46E1-8D39-3EC12D3531ED}" dt="2024-12-04T03:18:40.452" v="101" actId="1076"/>
          <ac:spMkLst>
            <pc:docMk/>
            <pc:sldMk cId="1385868049" sldId="261"/>
            <ac:spMk id="187" creationId="{1EF953E4-4D8D-372E-2556-80A553D85DFC}"/>
          </ac:spMkLst>
        </pc:spChg>
        <pc:spChg chg="mod">
          <ac:chgData name="Oluwagbotemi Oyefeso" userId="NwWFancOdn2fKbE7WQZiOo0sQfH+o74tpQygnAeMGXw=" providerId="None" clId="Web-{20D026BC-A1B5-46E1-8D39-3EC12D3531ED}" dt="2024-12-04T03:18:40.764" v="109" actId="1076"/>
          <ac:spMkLst>
            <pc:docMk/>
            <pc:sldMk cId="1385868049" sldId="261"/>
            <ac:spMk id="190" creationId="{44CC803E-FAEB-2687-5C0A-855F66FE497C}"/>
          </ac:spMkLst>
        </pc:spChg>
        <pc:spChg chg="mod">
          <ac:chgData name="Oluwagbotemi Oyefeso" userId="NwWFancOdn2fKbE7WQZiOo0sQfH+o74tpQygnAeMGXw=" providerId="None" clId="Web-{20D026BC-A1B5-46E1-8D39-3EC12D3531ED}" dt="2024-12-04T03:18:40.827" v="110" actId="1076"/>
          <ac:spMkLst>
            <pc:docMk/>
            <pc:sldMk cId="1385868049" sldId="261"/>
            <ac:spMk id="191" creationId="{29ED3DAA-949C-7BCD-F33E-85821EB4A90D}"/>
          </ac:spMkLst>
        </pc:spChg>
        <pc:spChg chg="mod">
          <ac:chgData name="Oluwagbotemi Oyefeso" userId="NwWFancOdn2fKbE7WQZiOo0sQfH+o74tpQygnAeMGXw=" providerId="None" clId="Web-{20D026BC-A1B5-46E1-8D39-3EC12D3531ED}" dt="2024-12-04T03:18:40.874" v="111" actId="1076"/>
          <ac:spMkLst>
            <pc:docMk/>
            <pc:sldMk cId="1385868049" sldId="261"/>
            <ac:spMk id="192" creationId="{E9073834-C463-B25F-F725-835B405FC5B9}"/>
          </ac:spMkLst>
        </pc:spChg>
        <pc:spChg chg="mod">
          <ac:chgData name="Oluwagbotemi Oyefeso" userId="NwWFancOdn2fKbE7WQZiOo0sQfH+o74tpQygnAeMGXw=" providerId="None" clId="Web-{20D026BC-A1B5-46E1-8D39-3EC12D3531ED}" dt="2024-12-04T03:18:40.905" v="112" actId="1076"/>
          <ac:spMkLst>
            <pc:docMk/>
            <pc:sldMk cId="1385868049" sldId="261"/>
            <ac:spMk id="193" creationId="{055D6A1B-2233-B0D9-FFFE-902AC83736DC}"/>
          </ac:spMkLst>
        </pc:spChg>
        <pc:spChg chg="mod">
          <ac:chgData name="Oluwagbotemi Oyefeso" userId="NwWFancOdn2fKbE7WQZiOo0sQfH+o74tpQygnAeMGXw=" providerId="None" clId="Web-{20D026BC-A1B5-46E1-8D39-3EC12D3531ED}" dt="2024-12-04T03:18:40.936" v="113" actId="1076"/>
          <ac:spMkLst>
            <pc:docMk/>
            <pc:sldMk cId="1385868049" sldId="261"/>
            <ac:spMk id="194" creationId="{FC9ACEFB-ECDB-F234-7A21-E007109FCF98}"/>
          </ac:spMkLst>
        </pc:spChg>
        <pc:spChg chg="mod">
          <ac:chgData name="Oluwagbotemi Oyefeso" userId="NwWFancOdn2fKbE7WQZiOo0sQfH+o74tpQygnAeMGXw=" providerId="None" clId="Web-{20D026BC-A1B5-46E1-8D39-3EC12D3531ED}" dt="2024-12-04T03:18:40.983" v="114" actId="1076"/>
          <ac:spMkLst>
            <pc:docMk/>
            <pc:sldMk cId="1385868049" sldId="261"/>
            <ac:spMk id="195" creationId="{B8D8597C-E235-36FD-5A4C-3CF4101386E4}"/>
          </ac:spMkLst>
        </pc:spChg>
        <pc:spChg chg="mod">
          <ac:chgData name="Oluwagbotemi Oyefeso" userId="NwWFancOdn2fKbE7WQZiOo0sQfH+o74tpQygnAeMGXw=" providerId="None" clId="Web-{20D026BC-A1B5-46E1-8D39-3EC12D3531ED}" dt="2024-12-04T03:18:40.499" v="102" actId="1076"/>
          <ac:spMkLst>
            <pc:docMk/>
            <pc:sldMk cId="1385868049" sldId="261"/>
            <ac:spMk id="235" creationId="{B3B029D7-BE92-A956-0556-6D4DF3B801B6}"/>
          </ac:spMkLst>
        </pc:spChg>
        <pc:spChg chg="mod">
          <ac:chgData name="Oluwagbotemi Oyefeso" userId="NwWFancOdn2fKbE7WQZiOo0sQfH+o74tpQygnAeMGXw=" providerId="None" clId="Web-{20D026BC-A1B5-46E1-8D39-3EC12D3531ED}" dt="2024-12-04T03:18:40.530" v="103" actId="1076"/>
          <ac:spMkLst>
            <pc:docMk/>
            <pc:sldMk cId="1385868049" sldId="261"/>
            <ac:spMk id="236" creationId="{D0D6D0E2-3F55-D68A-1A62-39627FFB39C7}"/>
          </ac:spMkLst>
        </pc:spChg>
        <pc:spChg chg="mod">
          <ac:chgData name="Oluwagbotemi Oyefeso" userId="NwWFancOdn2fKbE7WQZiOo0sQfH+o74tpQygnAeMGXw=" providerId="None" clId="Web-{20D026BC-A1B5-46E1-8D39-3EC12D3531ED}" dt="2024-12-04T03:18:40.561" v="104" actId="1076"/>
          <ac:spMkLst>
            <pc:docMk/>
            <pc:sldMk cId="1385868049" sldId="261"/>
            <ac:spMk id="237" creationId="{435146A0-48F7-A2BB-4FDA-9C22DA392AEB}"/>
          </ac:spMkLst>
        </pc:spChg>
        <pc:spChg chg="mod">
          <ac:chgData name="Oluwagbotemi Oyefeso" userId="NwWFancOdn2fKbE7WQZiOo0sQfH+o74tpQygnAeMGXw=" providerId="None" clId="Web-{20D026BC-A1B5-46E1-8D39-3EC12D3531ED}" dt="2024-12-04T03:18:40.608" v="105" actId="1076"/>
          <ac:spMkLst>
            <pc:docMk/>
            <pc:sldMk cId="1385868049" sldId="261"/>
            <ac:spMk id="238" creationId="{6217D9CF-298D-BA45-4F2B-E06A17EA58D8}"/>
          </ac:spMkLst>
        </pc:spChg>
        <pc:spChg chg="mod">
          <ac:chgData name="Oluwagbotemi Oyefeso" userId="NwWFancOdn2fKbE7WQZiOo0sQfH+o74tpQygnAeMGXw=" providerId="None" clId="Web-{20D026BC-A1B5-46E1-8D39-3EC12D3531ED}" dt="2024-12-04T03:18:40.639" v="106" actId="1076"/>
          <ac:spMkLst>
            <pc:docMk/>
            <pc:sldMk cId="1385868049" sldId="261"/>
            <ac:spMk id="239" creationId="{922B79DE-69D8-311C-502C-CEB55449B12F}"/>
          </ac:spMkLst>
        </pc:spChg>
        <pc:spChg chg="mod">
          <ac:chgData name="Oluwagbotemi Oyefeso" userId="NwWFancOdn2fKbE7WQZiOo0sQfH+o74tpQygnAeMGXw=" providerId="None" clId="Web-{20D026BC-A1B5-46E1-8D39-3EC12D3531ED}" dt="2024-12-04T03:18:40.686" v="107" actId="1076"/>
          <ac:spMkLst>
            <pc:docMk/>
            <pc:sldMk cId="1385868049" sldId="261"/>
            <ac:spMk id="240" creationId="{7166E32F-205F-7B0D-938B-45F1B0FC5D57}"/>
          </ac:spMkLst>
        </pc:spChg>
        <pc:spChg chg="mod">
          <ac:chgData name="Oluwagbotemi Oyefeso" userId="NwWFancOdn2fKbE7WQZiOo0sQfH+o74tpQygnAeMGXw=" providerId="None" clId="Web-{20D026BC-A1B5-46E1-8D39-3EC12D3531ED}" dt="2024-12-04T03:18:40.717" v="108" actId="1076"/>
          <ac:spMkLst>
            <pc:docMk/>
            <pc:sldMk cId="1385868049" sldId="261"/>
            <ac:spMk id="241" creationId="{DFF2A24F-B5FF-4FBD-FFF0-6D51021EF98B}"/>
          </ac:spMkLst>
        </pc:spChg>
        <pc:spChg chg="mod">
          <ac:chgData name="Oluwagbotemi Oyefeso" userId="NwWFancOdn2fKbE7WQZiOo0sQfH+o74tpQygnAeMGXw=" providerId="None" clId="Web-{20D026BC-A1B5-46E1-8D39-3EC12D3531ED}" dt="2024-12-04T03:18:19.857" v="54" actId="1076"/>
          <ac:spMkLst>
            <pc:docMk/>
            <pc:sldMk cId="1385868049" sldId="261"/>
            <ac:spMk id="284" creationId="{7AE44618-A639-35A0-887F-966EB8531EF3}"/>
          </ac:spMkLst>
        </pc:spChg>
        <pc:spChg chg="mod">
          <ac:chgData name="Oluwagbotemi Oyefeso" userId="NwWFancOdn2fKbE7WQZiOo0sQfH+o74tpQygnAeMGXw=" providerId="None" clId="Web-{20D026BC-A1B5-46E1-8D39-3EC12D3531ED}" dt="2024-12-04T03:18:19.904" v="55" actId="1076"/>
          <ac:spMkLst>
            <pc:docMk/>
            <pc:sldMk cId="1385868049" sldId="261"/>
            <ac:spMk id="285" creationId="{5B5F0113-9E5D-4506-9B79-EDBB207A462F}"/>
          </ac:spMkLst>
        </pc:spChg>
        <pc:spChg chg="mod">
          <ac:chgData name="Oluwagbotemi Oyefeso" userId="NwWFancOdn2fKbE7WQZiOo0sQfH+o74tpQygnAeMGXw=" providerId="None" clId="Web-{20D026BC-A1B5-46E1-8D39-3EC12D3531ED}" dt="2024-12-04T03:18:19.935" v="56" actId="1076"/>
          <ac:spMkLst>
            <pc:docMk/>
            <pc:sldMk cId="1385868049" sldId="261"/>
            <ac:spMk id="286" creationId="{561C92DB-0B67-2C40-34BC-9A05619D44C6}"/>
          </ac:spMkLst>
        </pc:spChg>
        <pc:spChg chg="mod">
          <ac:chgData name="Oluwagbotemi Oyefeso" userId="NwWFancOdn2fKbE7WQZiOo0sQfH+o74tpQygnAeMGXw=" providerId="None" clId="Web-{20D026BC-A1B5-46E1-8D39-3EC12D3531ED}" dt="2024-12-04T03:18:19.982" v="57" actId="1076"/>
          <ac:spMkLst>
            <pc:docMk/>
            <pc:sldMk cId="1385868049" sldId="261"/>
            <ac:spMk id="287" creationId="{035D53A3-CC5F-0C23-1216-A17784F9B4B8}"/>
          </ac:spMkLst>
        </pc:spChg>
        <pc:spChg chg="mod">
          <ac:chgData name="Oluwagbotemi Oyefeso" userId="NwWFancOdn2fKbE7WQZiOo0sQfH+o74tpQygnAeMGXw=" providerId="None" clId="Web-{20D026BC-A1B5-46E1-8D39-3EC12D3531ED}" dt="2024-12-04T03:18:20.013" v="58" actId="1076"/>
          <ac:spMkLst>
            <pc:docMk/>
            <pc:sldMk cId="1385868049" sldId="261"/>
            <ac:spMk id="288" creationId="{212F4DDF-C23F-8B91-1E3E-99988643AB2B}"/>
          </ac:spMkLst>
        </pc:spChg>
        <pc:spChg chg="mod">
          <ac:chgData name="Oluwagbotemi Oyefeso" userId="NwWFancOdn2fKbE7WQZiOo0sQfH+o74tpQygnAeMGXw=" providerId="None" clId="Web-{20D026BC-A1B5-46E1-8D39-3EC12D3531ED}" dt="2024-12-04T03:18:53.078" v="125" actId="1076"/>
          <ac:spMkLst>
            <pc:docMk/>
            <pc:sldMk cId="1385868049" sldId="261"/>
            <ac:spMk id="312" creationId="{9A7221E7-40B3-EE18-DDCF-17DB90838BD1}"/>
          </ac:spMkLst>
        </pc:spChg>
        <pc:graphicFrameChg chg="mod">
          <ac:chgData name="Oluwagbotemi Oyefeso" userId="NwWFancOdn2fKbE7WQZiOo0sQfH+o74tpQygnAeMGXw=" providerId="None" clId="Web-{20D026BC-A1B5-46E1-8D39-3EC12D3531ED}" dt="2024-12-04T04:25:21.961" v="215" actId="1076"/>
          <ac:graphicFrameMkLst>
            <pc:docMk/>
            <pc:sldMk cId="1385868049" sldId="261"/>
            <ac:graphicFrameMk id="303" creationId="{F6EF5DD2-BC71-4D4E-E493-90AE52E1C0C5}"/>
          </ac:graphicFrameMkLst>
        </pc:graphicFrameChg>
        <pc:graphicFrameChg chg="mod">
          <ac:chgData name="Oluwagbotemi Oyefeso" userId="NwWFancOdn2fKbE7WQZiOo0sQfH+o74tpQygnAeMGXw=" providerId="None" clId="Web-{20D026BC-A1B5-46E1-8D39-3EC12D3531ED}" dt="2024-12-04T03:18:21.966" v="64" actId="1076"/>
          <ac:graphicFrameMkLst>
            <pc:docMk/>
            <pc:sldMk cId="1385868049" sldId="261"/>
            <ac:graphicFrameMk id="313" creationId="{A533E21E-6DDD-1D99-926F-AAE690298864}"/>
          </ac:graphicFrameMkLst>
        </pc:graphicFrameChg>
      </pc:sldChg>
      <pc:sldChg chg="addSp delSp modSp">
        <pc:chgData name="Oluwagbotemi Oyefeso" userId="NwWFancOdn2fKbE7WQZiOo0sQfH+o74tpQygnAeMGXw=" providerId="None" clId="Web-{20D026BC-A1B5-46E1-8D39-3EC12D3531ED}" dt="2024-12-04T03:53:23.477" v="213" actId="14100"/>
        <pc:sldMkLst>
          <pc:docMk/>
          <pc:sldMk cId="611567175" sldId="278"/>
        </pc:sldMkLst>
        <pc:spChg chg="del">
          <ac:chgData name="Oluwagbotemi Oyefeso" userId="NwWFancOdn2fKbE7WQZiOo0sQfH+o74tpQygnAeMGXw=" providerId="None" clId="Web-{20D026BC-A1B5-46E1-8D39-3EC12D3531ED}" dt="2024-12-04T03:53:16.758" v="212"/>
          <ac:spMkLst>
            <pc:docMk/>
            <pc:sldMk cId="611567175" sldId="278"/>
            <ac:spMk id="3" creationId="{1BE98EFF-197D-3136-70B9-7BBD30A48931}"/>
          </ac:spMkLst>
        </pc:spChg>
        <pc:picChg chg="add mod">
          <ac:chgData name="Oluwagbotemi Oyefeso" userId="NwWFancOdn2fKbE7WQZiOo0sQfH+o74tpQygnAeMGXw=" providerId="None" clId="Web-{20D026BC-A1B5-46E1-8D39-3EC12D3531ED}" dt="2024-12-04T03:53:23.477" v="213" actId="14100"/>
          <ac:picMkLst>
            <pc:docMk/>
            <pc:sldMk cId="611567175" sldId="278"/>
            <ac:picMk id="4" creationId="{2FF3EDF2-39D5-FB00-D71F-87C7C2A0FD0C}"/>
          </ac:picMkLst>
        </pc:picChg>
      </pc:sldChg>
      <pc:sldChg chg="addSp modSp">
        <pc:chgData name="Oluwagbotemi Oyefeso" userId="NwWFancOdn2fKbE7WQZiOo0sQfH+o74tpQygnAeMGXw=" providerId="None" clId="Web-{20D026BC-A1B5-46E1-8D39-3EC12D3531ED}" dt="2024-12-04T03:25:12.724" v="129" actId="14100"/>
        <pc:sldMkLst>
          <pc:docMk/>
          <pc:sldMk cId="2032268054" sldId="287"/>
        </pc:sldMkLst>
        <pc:picChg chg="add mod">
          <ac:chgData name="Oluwagbotemi Oyefeso" userId="NwWFancOdn2fKbE7WQZiOo0sQfH+o74tpQygnAeMGXw=" providerId="None" clId="Web-{20D026BC-A1B5-46E1-8D39-3EC12D3531ED}" dt="2024-12-04T03:25:12.724" v="129" actId="14100"/>
          <ac:picMkLst>
            <pc:docMk/>
            <pc:sldMk cId="2032268054" sldId="287"/>
            <ac:picMk id="2" creationId="{A0B71C82-D2F6-190E-86B9-7C636D234FCA}"/>
          </ac:picMkLst>
        </pc:picChg>
      </pc:sldChg>
      <pc:sldChg chg="addSp delSp modSp">
        <pc:chgData name="Oluwagbotemi Oyefeso" userId="NwWFancOdn2fKbE7WQZiOo0sQfH+o74tpQygnAeMGXw=" providerId="None" clId="Web-{20D026BC-A1B5-46E1-8D39-3EC12D3531ED}" dt="2024-12-04T03:37:19.938" v="202" actId="1076"/>
        <pc:sldMkLst>
          <pc:docMk/>
          <pc:sldMk cId="1008996467" sldId="290"/>
        </pc:sldMkLst>
        <pc:spChg chg="del">
          <ac:chgData name="Oluwagbotemi Oyefeso" userId="NwWFancOdn2fKbE7WQZiOo0sQfH+o74tpQygnAeMGXw=" providerId="None" clId="Web-{20D026BC-A1B5-46E1-8D39-3EC12D3531ED}" dt="2024-12-04T03:32:39.984" v="150"/>
          <ac:spMkLst>
            <pc:docMk/>
            <pc:sldMk cId="1008996467" sldId="290"/>
            <ac:spMk id="2" creationId="{9635F5E3-2B1C-7C0A-8581-67A9052D13AA}"/>
          </ac:spMkLst>
        </pc:spChg>
        <pc:spChg chg="mod">
          <ac:chgData name="Oluwagbotemi Oyefeso" userId="NwWFancOdn2fKbE7WQZiOo0sQfH+o74tpQygnAeMGXw=" providerId="None" clId="Web-{20D026BC-A1B5-46E1-8D39-3EC12D3531ED}" dt="2024-12-04T03:37:19.938" v="202" actId="1076"/>
          <ac:spMkLst>
            <pc:docMk/>
            <pc:sldMk cId="1008996467" sldId="290"/>
            <ac:spMk id="3" creationId="{A6A33159-D030-2F82-A142-F75940728319}"/>
          </ac:spMkLst>
        </pc:spChg>
        <pc:spChg chg="add del mod">
          <ac:chgData name="Oluwagbotemi Oyefeso" userId="NwWFancOdn2fKbE7WQZiOo0sQfH+o74tpQygnAeMGXw=" providerId="None" clId="Web-{20D026BC-A1B5-46E1-8D39-3EC12D3531ED}" dt="2024-12-04T03:32:53.204" v="151"/>
          <ac:spMkLst>
            <pc:docMk/>
            <pc:sldMk cId="1008996467" sldId="290"/>
            <ac:spMk id="6" creationId="{B5103015-7E95-A762-C41E-C0F3BDFF6246}"/>
          </ac:spMkLst>
        </pc:spChg>
        <pc:picChg chg="add mod ord">
          <ac:chgData name="Oluwagbotemi Oyefeso" userId="NwWFancOdn2fKbE7WQZiOo0sQfH+o74tpQygnAeMGXw=" providerId="None" clId="Web-{20D026BC-A1B5-46E1-8D39-3EC12D3531ED}" dt="2024-12-04T03:33:48.785" v="163" actId="1076"/>
          <ac:picMkLst>
            <pc:docMk/>
            <pc:sldMk cId="1008996467" sldId="290"/>
            <ac:picMk id="4" creationId="{D3CEFD40-B110-2549-2938-BC99371367AE}"/>
          </ac:picMkLst>
        </pc:picChg>
      </pc:sldChg>
      <pc:sldChg chg="addSp delSp modSp new">
        <pc:chgData name="Oluwagbotemi Oyefeso" userId="NwWFancOdn2fKbE7WQZiOo0sQfH+o74tpQygnAeMGXw=" providerId="None" clId="Web-{20D026BC-A1B5-46E1-8D39-3EC12D3531ED}" dt="2024-12-04T03:17:05.806" v="9"/>
        <pc:sldMkLst>
          <pc:docMk/>
          <pc:sldMk cId="1142381863" sldId="307"/>
        </pc:sldMkLst>
        <pc:spChg chg="del">
          <ac:chgData name="Oluwagbotemi Oyefeso" userId="NwWFancOdn2fKbE7WQZiOo0sQfH+o74tpQygnAeMGXw=" providerId="None" clId="Web-{20D026BC-A1B5-46E1-8D39-3EC12D3531ED}" dt="2024-12-04T03:17:03.743" v="8"/>
          <ac:spMkLst>
            <pc:docMk/>
            <pc:sldMk cId="1142381863" sldId="307"/>
            <ac:spMk id="2" creationId="{F65EB1DC-3472-06E6-DCF0-33436BE08FD0}"/>
          </ac:spMkLst>
        </pc:spChg>
        <pc:spChg chg="del">
          <ac:chgData name="Oluwagbotemi Oyefeso" userId="NwWFancOdn2fKbE7WQZiOo0sQfH+o74tpQygnAeMGXw=" providerId="None" clId="Web-{20D026BC-A1B5-46E1-8D39-3EC12D3531ED}" dt="2024-12-04T03:17:01.477" v="7"/>
          <ac:spMkLst>
            <pc:docMk/>
            <pc:sldMk cId="1142381863" sldId="307"/>
            <ac:spMk id="3" creationId="{7A5410E1-8C4C-4930-ADC3-F295DD14BA5F}"/>
          </ac:spMkLst>
        </pc:spChg>
        <pc:picChg chg="add mod">
          <ac:chgData name="Oluwagbotemi Oyefeso" userId="NwWFancOdn2fKbE7WQZiOo0sQfH+o74tpQygnAeMGXw=" providerId="None" clId="Web-{20D026BC-A1B5-46E1-8D39-3EC12D3531ED}" dt="2024-12-04T03:17:05.806" v="9"/>
          <ac:picMkLst>
            <pc:docMk/>
            <pc:sldMk cId="1142381863" sldId="307"/>
            <ac:picMk id="4" creationId="{CDB87870-84D5-C592-07EC-C82559E926B1}"/>
          </ac:picMkLst>
        </pc:picChg>
      </pc:sldChg>
      <pc:sldChg chg="new del">
        <pc:chgData name="Oluwagbotemi Oyefeso" userId="NwWFancOdn2fKbE7WQZiOo0sQfH+o74tpQygnAeMGXw=" providerId="None" clId="Web-{20D026BC-A1B5-46E1-8D39-3EC12D3531ED}" dt="2024-12-04T03:15:40.223" v="4"/>
        <pc:sldMkLst>
          <pc:docMk/>
          <pc:sldMk cId="4149796564" sldId="307"/>
        </pc:sldMkLst>
      </pc:sldChg>
      <pc:sldChg chg="addSp delSp modSp new">
        <pc:chgData name="Oluwagbotemi Oyefeso" userId="NwWFancOdn2fKbE7WQZiOo0sQfH+o74tpQygnAeMGXw=" providerId="None" clId="Web-{20D026BC-A1B5-46E1-8D39-3EC12D3531ED}" dt="2024-12-04T03:50:04.310" v="209" actId="14100"/>
        <pc:sldMkLst>
          <pc:docMk/>
          <pc:sldMk cId="1231157386" sldId="308"/>
        </pc:sldMkLst>
        <pc:spChg chg="mod">
          <ac:chgData name="Oluwagbotemi Oyefeso" userId="NwWFancOdn2fKbE7WQZiOo0sQfH+o74tpQygnAeMGXw=" providerId="None" clId="Web-{20D026BC-A1B5-46E1-8D39-3EC12D3531ED}" dt="2024-12-04T03:17:30.745" v="42" actId="1076"/>
          <ac:spMkLst>
            <pc:docMk/>
            <pc:sldMk cId="1231157386" sldId="308"/>
            <ac:spMk id="2" creationId="{E615F989-F06D-FE74-AF29-6BD8C7145BA7}"/>
          </ac:spMkLst>
        </pc:spChg>
        <pc:spChg chg="del">
          <ac:chgData name="Oluwagbotemi Oyefeso" userId="NwWFancOdn2fKbE7WQZiOo0sQfH+o74tpQygnAeMGXw=" providerId="None" clId="Web-{20D026BC-A1B5-46E1-8D39-3EC12D3531ED}" dt="2024-12-04T03:17:27.932" v="41"/>
          <ac:spMkLst>
            <pc:docMk/>
            <pc:sldMk cId="1231157386" sldId="308"/>
            <ac:spMk id="3" creationId="{77A9899E-65DE-1ECA-E8C3-39E7FD15AB41}"/>
          </ac:spMkLst>
        </pc:spChg>
        <pc:picChg chg="add del mod">
          <ac:chgData name="Oluwagbotemi Oyefeso" userId="NwWFancOdn2fKbE7WQZiOo0sQfH+o74tpQygnAeMGXw=" providerId="None" clId="Web-{20D026BC-A1B5-46E1-8D39-3EC12D3531ED}" dt="2024-12-04T03:49:52.684" v="206"/>
          <ac:picMkLst>
            <pc:docMk/>
            <pc:sldMk cId="1231157386" sldId="308"/>
            <ac:picMk id="4" creationId="{2D2B4888-7516-590E-8828-E769098A587E}"/>
          </ac:picMkLst>
        </pc:picChg>
        <pc:picChg chg="add mod">
          <ac:chgData name="Oluwagbotemi Oyefeso" userId="NwWFancOdn2fKbE7WQZiOo0sQfH+o74tpQygnAeMGXw=" providerId="None" clId="Web-{20D026BC-A1B5-46E1-8D39-3EC12D3531ED}" dt="2024-12-04T03:50:04.310" v="209" actId="14100"/>
          <ac:picMkLst>
            <pc:docMk/>
            <pc:sldMk cId="1231157386" sldId="308"/>
            <ac:picMk id="5" creationId="{DF03AEE7-B817-2856-CA82-64F3D070C909}"/>
          </ac:picMkLst>
        </pc:picChg>
      </pc:sldChg>
      <pc:sldChg chg="addSp delSp modSp new">
        <pc:chgData name="Oluwagbotemi Oyefeso" userId="NwWFancOdn2fKbE7WQZiOo0sQfH+o74tpQygnAeMGXw=" providerId="None" clId="Web-{20D026BC-A1B5-46E1-8D39-3EC12D3531ED}" dt="2024-12-04T03:30:46.118" v="142" actId="14100"/>
        <pc:sldMkLst>
          <pc:docMk/>
          <pc:sldMk cId="1261488552" sldId="310"/>
        </pc:sldMkLst>
        <pc:spChg chg="del">
          <ac:chgData name="Oluwagbotemi Oyefeso" userId="NwWFancOdn2fKbE7WQZiOo0sQfH+o74tpQygnAeMGXw=" providerId="None" clId="Web-{20D026BC-A1B5-46E1-8D39-3EC12D3531ED}" dt="2024-12-04T03:30:20.992" v="136"/>
          <ac:spMkLst>
            <pc:docMk/>
            <pc:sldMk cId="1261488552" sldId="310"/>
            <ac:spMk id="2" creationId="{BC9CEC8C-089D-5B18-B4FB-1E2DB8FB0BB6}"/>
          </ac:spMkLst>
        </pc:spChg>
        <pc:spChg chg="del">
          <ac:chgData name="Oluwagbotemi Oyefeso" userId="NwWFancOdn2fKbE7WQZiOo0sQfH+o74tpQygnAeMGXw=" providerId="None" clId="Web-{20D026BC-A1B5-46E1-8D39-3EC12D3531ED}" dt="2024-12-04T03:30:23.570" v="138"/>
          <ac:spMkLst>
            <pc:docMk/>
            <pc:sldMk cId="1261488552" sldId="310"/>
            <ac:spMk id="3" creationId="{7FD96DFA-16BB-6B81-5D96-34115F83E903}"/>
          </ac:spMkLst>
        </pc:spChg>
        <pc:spChg chg="del">
          <ac:chgData name="Oluwagbotemi Oyefeso" userId="NwWFancOdn2fKbE7WQZiOo0sQfH+o74tpQygnAeMGXw=" providerId="None" clId="Web-{20D026BC-A1B5-46E1-8D39-3EC12D3531ED}" dt="2024-12-04T03:30:22.133" v="137"/>
          <ac:spMkLst>
            <pc:docMk/>
            <pc:sldMk cId="1261488552" sldId="310"/>
            <ac:spMk id="4" creationId="{C0B14785-0CEF-370F-DB2A-BD9A9317AE43}"/>
          </ac:spMkLst>
        </pc:spChg>
        <pc:picChg chg="add mod">
          <ac:chgData name="Oluwagbotemi Oyefeso" userId="NwWFancOdn2fKbE7WQZiOo0sQfH+o74tpQygnAeMGXw=" providerId="None" clId="Web-{20D026BC-A1B5-46E1-8D39-3EC12D3531ED}" dt="2024-12-04T03:30:46.118" v="142" actId="14100"/>
          <ac:picMkLst>
            <pc:docMk/>
            <pc:sldMk cId="1261488552" sldId="310"/>
            <ac:picMk id="5" creationId="{392C81E6-D6C6-823B-3883-6AA291B0FA74}"/>
          </ac:picMkLst>
        </pc:picChg>
      </pc:sldChg>
      <pc:sldMasterChg chg="add addSldLayout">
        <pc:chgData name="Oluwagbotemi Oyefeso" userId="NwWFancOdn2fKbE7WQZiOo0sQfH+o74tpQygnAeMGXw=" providerId="None" clId="Web-{20D026BC-A1B5-46E1-8D39-3EC12D3531ED}" dt="2024-12-04T03:15:33.207" v="3"/>
        <pc:sldMasterMkLst>
          <pc:docMk/>
          <pc:sldMasterMk cId="3907820291" sldId="2147483648"/>
        </pc:sldMasterMkLst>
        <pc:sldLayoutChg chg="add">
          <pc:chgData name="Oluwagbotemi Oyefeso" userId="NwWFancOdn2fKbE7WQZiOo0sQfH+o74tpQygnAeMGXw=" providerId="None" clId="Web-{20D026BC-A1B5-46E1-8D39-3EC12D3531ED}" dt="2024-12-04T03:15:33.207" v="3"/>
          <pc:sldLayoutMkLst>
            <pc:docMk/>
            <pc:sldMasterMk cId="3907820291" sldId="2147483648"/>
            <pc:sldLayoutMk cId="896457870" sldId="2147483649"/>
          </pc:sldLayoutMkLst>
        </pc:sldLayoutChg>
        <pc:sldLayoutChg chg="add">
          <pc:chgData name="Oluwagbotemi Oyefeso" userId="NwWFancOdn2fKbE7WQZiOo0sQfH+o74tpQygnAeMGXw=" providerId="None" clId="Web-{20D026BC-A1B5-46E1-8D39-3EC12D3531ED}" dt="2024-12-04T03:15:33.207" v="3"/>
          <pc:sldLayoutMkLst>
            <pc:docMk/>
            <pc:sldMasterMk cId="3907820291" sldId="2147483648"/>
            <pc:sldLayoutMk cId="846361083" sldId="2147483650"/>
          </pc:sldLayoutMkLst>
        </pc:sldLayoutChg>
        <pc:sldLayoutChg chg="add">
          <pc:chgData name="Oluwagbotemi Oyefeso" userId="NwWFancOdn2fKbE7WQZiOo0sQfH+o74tpQygnAeMGXw=" providerId="None" clId="Web-{20D026BC-A1B5-46E1-8D39-3EC12D3531ED}" dt="2024-12-04T03:15:33.207" v="3"/>
          <pc:sldLayoutMkLst>
            <pc:docMk/>
            <pc:sldMasterMk cId="3907820291" sldId="2147483648"/>
            <pc:sldLayoutMk cId="1639190212" sldId="2147483651"/>
          </pc:sldLayoutMkLst>
        </pc:sldLayoutChg>
        <pc:sldLayoutChg chg="add">
          <pc:chgData name="Oluwagbotemi Oyefeso" userId="NwWFancOdn2fKbE7WQZiOo0sQfH+o74tpQygnAeMGXw=" providerId="None" clId="Web-{20D026BC-A1B5-46E1-8D39-3EC12D3531ED}" dt="2024-12-04T03:15:33.207" v="3"/>
          <pc:sldLayoutMkLst>
            <pc:docMk/>
            <pc:sldMasterMk cId="3907820291" sldId="2147483648"/>
            <pc:sldLayoutMk cId="2636609499" sldId="2147483652"/>
          </pc:sldLayoutMkLst>
        </pc:sldLayoutChg>
        <pc:sldLayoutChg chg="add">
          <pc:chgData name="Oluwagbotemi Oyefeso" userId="NwWFancOdn2fKbE7WQZiOo0sQfH+o74tpQygnAeMGXw=" providerId="None" clId="Web-{20D026BC-A1B5-46E1-8D39-3EC12D3531ED}" dt="2024-12-04T03:15:33.207" v="3"/>
          <pc:sldLayoutMkLst>
            <pc:docMk/>
            <pc:sldMasterMk cId="3907820291" sldId="2147483648"/>
            <pc:sldLayoutMk cId="499495951" sldId="2147483653"/>
          </pc:sldLayoutMkLst>
        </pc:sldLayoutChg>
        <pc:sldLayoutChg chg="add">
          <pc:chgData name="Oluwagbotemi Oyefeso" userId="NwWFancOdn2fKbE7WQZiOo0sQfH+o74tpQygnAeMGXw=" providerId="None" clId="Web-{20D026BC-A1B5-46E1-8D39-3EC12D3531ED}" dt="2024-12-04T03:15:33.207" v="3"/>
          <pc:sldLayoutMkLst>
            <pc:docMk/>
            <pc:sldMasterMk cId="3907820291" sldId="2147483648"/>
            <pc:sldLayoutMk cId="1873357163" sldId="2147483654"/>
          </pc:sldLayoutMkLst>
        </pc:sldLayoutChg>
        <pc:sldLayoutChg chg="add">
          <pc:chgData name="Oluwagbotemi Oyefeso" userId="NwWFancOdn2fKbE7WQZiOo0sQfH+o74tpQygnAeMGXw=" providerId="None" clId="Web-{20D026BC-A1B5-46E1-8D39-3EC12D3531ED}" dt="2024-12-04T03:15:33.207" v="3"/>
          <pc:sldLayoutMkLst>
            <pc:docMk/>
            <pc:sldMasterMk cId="3907820291" sldId="2147483648"/>
            <pc:sldLayoutMk cId="861601188" sldId="2147483655"/>
          </pc:sldLayoutMkLst>
        </pc:sldLayoutChg>
        <pc:sldLayoutChg chg="add">
          <pc:chgData name="Oluwagbotemi Oyefeso" userId="NwWFancOdn2fKbE7WQZiOo0sQfH+o74tpQygnAeMGXw=" providerId="None" clId="Web-{20D026BC-A1B5-46E1-8D39-3EC12D3531ED}" dt="2024-12-04T03:15:33.207" v="3"/>
          <pc:sldLayoutMkLst>
            <pc:docMk/>
            <pc:sldMasterMk cId="3907820291" sldId="2147483648"/>
            <pc:sldLayoutMk cId="3220091215" sldId="2147483656"/>
          </pc:sldLayoutMkLst>
        </pc:sldLayoutChg>
        <pc:sldLayoutChg chg="add">
          <pc:chgData name="Oluwagbotemi Oyefeso" userId="NwWFancOdn2fKbE7WQZiOo0sQfH+o74tpQygnAeMGXw=" providerId="None" clId="Web-{20D026BC-A1B5-46E1-8D39-3EC12D3531ED}" dt="2024-12-04T03:15:33.207" v="3"/>
          <pc:sldLayoutMkLst>
            <pc:docMk/>
            <pc:sldMasterMk cId="3907820291" sldId="2147483648"/>
            <pc:sldLayoutMk cId="212620380" sldId="2147483657"/>
          </pc:sldLayoutMkLst>
        </pc:sldLayoutChg>
        <pc:sldLayoutChg chg="add">
          <pc:chgData name="Oluwagbotemi Oyefeso" userId="NwWFancOdn2fKbE7WQZiOo0sQfH+o74tpQygnAeMGXw=" providerId="None" clId="Web-{20D026BC-A1B5-46E1-8D39-3EC12D3531ED}" dt="2024-12-04T03:15:33.207" v="3"/>
          <pc:sldLayoutMkLst>
            <pc:docMk/>
            <pc:sldMasterMk cId="3907820291" sldId="2147483648"/>
            <pc:sldLayoutMk cId="2721823470" sldId="2147483658"/>
          </pc:sldLayoutMkLst>
        </pc:sldLayoutChg>
        <pc:sldLayoutChg chg="add">
          <pc:chgData name="Oluwagbotemi Oyefeso" userId="NwWFancOdn2fKbE7WQZiOo0sQfH+o74tpQygnAeMGXw=" providerId="None" clId="Web-{20D026BC-A1B5-46E1-8D39-3EC12D3531ED}" dt="2024-12-04T03:15:33.207" v="3"/>
          <pc:sldLayoutMkLst>
            <pc:docMk/>
            <pc:sldMasterMk cId="3907820291" sldId="2147483648"/>
            <pc:sldLayoutMk cId="2234765776" sldId="2147483659"/>
          </pc:sldLayoutMkLst>
        </pc:sldLayoutChg>
      </pc:sldMasterChg>
      <pc:sldMasterChg chg="replId modSldLayout">
        <pc:chgData name="Oluwagbotemi Oyefeso" userId="NwWFancOdn2fKbE7WQZiOo0sQfH+o74tpQygnAeMGXw=" providerId="None" clId="Web-{20D026BC-A1B5-46E1-8D39-3EC12D3531ED}" dt="2024-12-04T03:15:33.207" v="3"/>
        <pc:sldMasterMkLst>
          <pc:docMk/>
          <pc:sldMasterMk cId="1965934658" sldId="2147483667"/>
        </pc:sldMasterMkLst>
        <pc:sldLayoutChg chg="replId">
          <pc:chgData name="Oluwagbotemi Oyefeso" userId="NwWFancOdn2fKbE7WQZiOo0sQfH+o74tpQygnAeMGXw=" providerId="None" clId="Web-{20D026BC-A1B5-46E1-8D39-3EC12D3531ED}" dt="2024-12-04T03:15:33.207" v="3"/>
          <pc:sldLayoutMkLst>
            <pc:docMk/>
            <pc:sldMasterMk cId="1965934658" sldId="2147483667"/>
            <pc:sldLayoutMk cId="1563727740" sldId="2147483668"/>
          </pc:sldLayoutMkLst>
        </pc:sldLayoutChg>
        <pc:sldLayoutChg chg="replId">
          <pc:chgData name="Oluwagbotemi Oyefeso" userId="NwWFancOdn2fKbE7WQZiOo0sQfH+o74tpQygnAeMGXw=" providerId="None" clId="Web-{20D026BC-A1B5-46E1-8D39-3EC12D3531ED}" dt="2024-12-04T03:15:33.207" v="3"/>
          <pc:sldLayoutMkLst>
            <pc:docMk/>
            <pc:sldMasterMk cId="1965934658" sldId="2147483667"/>
            <pc:sldLayoutMk cId="2587894702" sldId="2147483669"/>
          </pc:sldLayoutMkLst>
        </pc:sldLayoutChg>
        <pc:sldLayoutChg chg="replId">
          <pc:chgData name="Oluwagbotemi Oyefeso" userId="NwWFancOdn2fKbE7WQZiOo0sQfH+o74tpQygnAeMGXw=" providerId="None" clId="Web-{20D026BC-A1B5-46E1-8D39-3EC12D3531ED}" dt="2024-12-04T03:15:33.207" v="3"/>
          <pc:sldLayoutMkLst>
            <pc:docMk/>
            <pc:sldMasterMk cId="1965934658" sldId="2147483667"/>
            <pc:sldLayoutMk cId="2845438103" sldId="2147483670"/>
          </pc:sldLayoutMkLst>
        </pc:sldLayoutChg>
        <pc:sldLayoutChg chg="replId">
          <pc:chgData name="Oluwagbotemi Oyefeso" userId="NwWFancOdn2fKbE7WQZiOo0sQfH+o74tpQygnAeMGXw=" providerId="None" clId="Web-{20D026BC-A1B5-46E1-8D39-3EC12D3531ED}" dt="2024-12-04T03:15:33.207" v="3"/>
          <pc:sldLayoutMkLst>
            <pc:docMk/>
            <pc:sldMasterMk cId="1965934658" sldId="2147483667"/>
            <pc:sldLayoutMk cId="3424675042" sldId="2147483671"/>
          </pc:sldLayoutMkLst>
        </pc:sldLayoutChg>
        <pc:sldLayoutChg chg="replId">
          <pc:chgData name="Oluwagbotemi Oyefeso" userId="NwWFancOdn2fKbE7WQZiOo0sQfH+o74tpQygnAeMGXw=" providerId="None" clId="Web-{20D026BC-A1B5-46E1-8D39-3EC12D3531ED}" dt="2024-12-04T03:15:33.207" v="3"/>
          <pc:sldLayoutMkLst>
            <pc:docMk/>
            <pc:sldMasterMk cId="1965934658" sldId="2147483667"/>
            <pc:sldLayoutMk cId="3298420441" sldId="2147483672"/>
          </pc:sldLayoutMkLst>
        </pc:sldLayoutChg>
        <pc:sldLayoutChg chg="replId">
          <pc:chgData name="Oluwagbotemi Oyefeso" userId="NwWFancOdn2fKbE7WQZiOo0sQfH+o74tpQygnAeMGXw=" providerId="None" clId="Web-{20D026BC-A1B5-46E1-8D39-3EC12D3531ED}" dt="2024-12-04T03:15:33.207" v="3"/>
          <pc:sldLayoutMkLst>
            <pc:docMk/>
            <pc:sldMasterMk cId="1965934658" sldId="2147483667"/>
            <pc:sldLayoutMk cId="1924186377" sldId="2147483673"/>
          </pc:sldLayoutMkLst>
        </pc:sldLayoutChg>
      </pc:sldMasterChg>
    </pc:docChg>
  </pc:docChgLst>
  <pc:docChgLst>
    <pc:chgData name="Oluwagbotemi Oyefeso" userId="NwWFancOdn2fKbE7WQZiOo0sQfH+o74tpQygnAeMGXw=" providerId="None" clId="Web-{9D3499D3-5646-467A-94F0-5EEB266B2AA0}"/>
    <pc:docChg chg="addSld delSld modSld">
      <pc:chgData name="Oluwagbotemi Oyefeso" userId="NwWFancOdn2fKbE7WQZiOo0sQfH+o74tpQygnAeMGXw=" providerId="None" clId="Web-{9D3499D3-5646-467A-94F0-5EEB266B2AA0}" dt="2024-12-04T22:23:29.714" v="122"/>
      <pc:docMkLst>
        <pc:docMk/>
      </pc:docMkLst>
      <pc:sldChg chg="add del">
        <pc:chgData name="Oluwagbotemi Oyefeso" userId="NwWFancOdn2fKbE7WQZiOo0sQfH+o74tpQygnAeMGXw=" providerId="None" clId="Web-{9D3499D3-5646-467A-94F0-5EEB266B2AA0}" dt="2024-12-04T22:11:39.789" v="80"/>
        <pc:sldMkLst>
          <pc:docMk/>
          <pc:sldMk cId="1008037533" sldId="259"/>
        </pc:sldMkLst>
      </pc:sldChg>
      <pc:sldChg chg="addSp delSp modSp add del">
        <pc:chgData name="Oluwagbotemi Oyefeso" userId="NwWFancOdn2fKbE7WQZiOo0sQfH+o74tpQygnAeMGXw=" providerId="None" clId="Web-{9D3499D3-5646-467A-94F0-5EEB266B2AA0}" dt="2024-12-04T22:13:07.451" v="115" actId="14100"/>
        <pc:sldMkLst>
          <pc:docMk/>
          <pc:sldMk cId="1385868049" sldId="261"/>
        </pc:sldMkLst>
        <pc:spChg chg="del">
          <ac:chgData name="Oluwagbotemi Oyefeso" userId="NwWFancOdn2fKbE7WQZiOo0sQfH+o74tpQygnAeMGXw=" providerId="None" clId="Web-{9D3499D3-5646-467A-94F0-5EEB266B2AA0}" dt="2024-12-04T22:11:30.647" v="16"/>
          <ac:spMkLst>
            <pc:docMk/>
            <pc:sldMk cId="1385868049" sldId="261"/>
            <ac:spMk id="162" creationId="{20CD9FAB-1873-6D6C-935B-099F763C27B1}"/>
          </ac:spMkLst>
        </pc:spChg>
        <pc:spChg chg="del">
          <ac:chgData name="Oluwagbotemi Oyefeso" userId="NwWFancOdn2fKbE7WQZiOo0sQfH+o74tpQygnAeMGXw=" providerId="None" clId="Web-{9D3499D3-5646-467A-94F0-5EEB266B2AA0}" dt="2024-12-04T22:11:30.647" v="15"/>
          <ac:spMkLst>
            <pc:docMk/>
            <pc:sldMk cId="1385868049" sldId="261"/>
            <ac:spMk id="163" creationId="{AB6A3656-D5DE-9129-87AC-1A5E20334892}"/>
          </ac:spMkLst>
        </pc:spChg>
        <pc:spChg chg="del">
          <ac:chgData name="Oluwagbotemi Oyefeso" userId="NwWFancOdn2fKbE7WQZiOo0sQfH+o74tpQygnAeMGXw=" providerId="None" clId="Web-{9D3499D3-5646-467A-94F0-5EEB266B2AA0}" dt="2024-12-04T22:11:30.632" v="14"/>
          <ac:spMkLst>
            <pc:docMk/>
            <pc:sldMk cId="1385868049" sldId="261"/>
            <ac:spMk id="166" creationId="{C812296B-C4C4-42A5-6F98-55E3EE4372DB}"/>
          </ac:spMkLst>
        </pc:spChg>
        <pc:spChg chg="del">
          <ac:chgData name="Oluwagbotemi Oyefeso" userId="NwWFancOdn2fKbE7WQZiOo0sQfH+o74tpQygnAeMGXw=" providerId="None" clId="Web-{9D3499D3-5646-467A-94F0-5EEB266B2AA0}" dt="2024-12-04T22:11:30.632" v="13"/>
          <ac:spMkLst>
            <pc:docMk/>
            <pc:sldMk cId="1385868049" sldId="261"/>
            <ac:spMk id="167" creationId="{24125357-C834-0689-4281-5DBACCB830AF}"/>
          </ac:spMkLst>
        </pc:spChg>
        <pc:spChg chg="del">
          <ac:chgData name="Oluwagbotemi Oyefeso" userId="NwWFancOdn2fKbE7WQZiOo0sQfH+o74tpQygnAeMGXw=" providerId="None" clId="Web-{9D3499D3-5646-467A-94F0-5EEB266B2AA0}" dt="2024-12-04T22:11:30.632" v="12"/>
          <ac:spMkLst>
            <pc:docMk/>
            <pc:sldMk cId="1385868049" sldId="261"/>
            <ac:spMk id="168" creationId="{16B5B497-E49B-F896-1A73-EC4D686748A7}"/>
          </ac:spMkLst>
        </pc:spChg>
        <pc:spChg chg="del">
          <ac:chgData name="Oluwagbotemi Oyefeso" userId="NwWFancOdn2fKbE7WQZiOo0sQfH+o74tpQygnAeMGXw=" providerId="None" clId="Web-{9D3499D3-5646-467A-94F0-5EEB266B2AA0}" dt="2024-12-04T22:11:30.647" v="36"/>
          <ac:spMkLst>
            <pc:docMk/>
            <pc:sldMk cId="1385868049" sldId="261"/>
            <ac:spMk id="186" creationId="{8E796BFF-5F88-D691-82CE-6A9C416B7E8C}"/>
          </ac:spMkLst>
        </pc:spChg>
        <pc:spChg chg="del">
          <ac:chgData name="Oluwagbotemi Oyefeso" userId="NwWFancOdn2fKbE7WQZiOo0sQfH+o74tpQygnAeMGXw=" providerId="None" clId="Web-{9D3499D3-5646-467A-94F0-5EEB266B2AA0}" dt="2024-12-04T22:11:30.647" v="35"/>
          <ac:spMkLst>
            <pc:docMk/>
            <pc:sldMk cId="1385868049" sldId="261"/>
            <ac:spMk id="187" creationId="{1EF953E4-4D8D-372E-2556-80A553D85DFC}"/>
          </ac:spMkLst>
        </pc:spChg>
        <pc:spChg chg="del">
          <ac:chgData name="Oluwagbotemi Oyefeso" userId="NwWFancOdn2fKbE7WQZiOo0sQfH+o74tpQygnAeMGXw=" providerId="None" clId="Web-{9D3499D3-5646-467A-94F0-5EEB266B2AA0}" dt="2024-12-04T22:11:30.647" v="27"/>
          <ac:spMkLst>
            <pc:docMk/>
            <pc:sldMk cId="1385868049" sldId="261"/>
            <ac:spMk id="190" creationId="{44CC803E-FAEB-2687-5C0A-855F66FE497C}"/>
          </ac:spMkLst>
        </pc:spChg>
        <pc:spChg chg="del">
          <ac:chgData name="Oluwagbotemi Oyefeso" userId="NwWFancOdn2fKbE7WQZiOo0sQfH+o74tpQygnAeMGXw=" providerId="None" clId="Web-{9D3499D3-5646-467A-94F0-5EEB266B2AA0}" dt="2024-12-04T22:11:30.647" v="26"/>
          <ac:spMkLst>
            <pc:docMk/>
            <pc:sldMk cId="1385868049" sldId="261"/>
            <ac:spMk id="191" creationId="{29ED3DAA-949C-7BCD-F33E-85821EB4A90D}"/>
          </ac:spMkLst>
        </pc:spChg>
        <pc:spChg chg="del">
          <ac:chgData name="Oluwagbotemi Oyefeso" userId="NwWFancOdn2fKbE7WQZiOo0sQfH+o74tpQygnAeMGXw=" providerId="None" clId="Web-{9D3499D3-5646-467A-94F0-5EEB266B2AA0}" dt="2024-12-04T22:11:30.647" v="25"/>
          <ac:spMkLst>
            <pc:docMk/>
            <pc:sldMk cId="1385868049" sldId="261"/>
            <ac:spMk id="192" creationId="{E9073834-C463-B25F-F725-835B405FC5B9}"/>
          </ac:spMkLst>
        </pc:spChg>
        <pc:spChg chg="del">
          <ac:chgData name="Oluwagbotemi Oyefeso" userId="NwWFancOdn2fKbE7WQZiOo0sQfH+o74tpQygnAeMGXw=" providerId="None" clId="Web-{9D3499D3-5646-467A-94F0-5EEB266B2AA0}" dt="2024-12-04T22:11:30.647" v="24"/>
          <ac:spMkLst>
            <pc:docMk/>
            <pc:sldMk cId="1385868049" sldId="261"/>
            <ac:spMk id="193" creationId="{055D6A1B-2233-B0D9-FFFE-902AC83736DC}"/>
          </ac:spMkLst>
        </pc:spChg>
        <pc:spChg chg="del">
          <ac:chgData name="Oluwagbotemi Oyefeso" userId="NwWFancOdn2fKbE7WQZiOo0sQfH+o74tpQygnAeMGXw=" providerId="None" clId="Web-{9D3499D3-5646-467A-94F0-5EEB266B2AA0}" dt="2024-12-04T22:11:30.647" v="23"/>
          <ac:spMkLst>
            <pc:docMk/>
            <pc:sldMk cId="1385868049" sldId="261"/>
            <ac:spMk id="194" creationId="{FC9ACEFB-ECDB-F234-7A21-E007109FCF98}"/>
          </ac:spMkLst>
        </pc:spChg>
        <pc:spChg chg="del">
          <ac:chgData name="Oluwagbotemi Oyefeso" userId="NwWFancOdn2fKbE7WQZiOo0sQfH+o74tpQygnAeMGXw=" providerId="None" clId="Web-{9D3499D3-5646-467A-94F0-5EEB266B2AA0}" dt="2024-12-04T22:11:30.647" v="22"/>
          <ac:spMkLst>
            <pc:docMk/>
            <pc:sldMk cId="1385868049" sldId="261"/>
            <ac:spMk id="195" creationId="{B8D8597C-E235-36FD-5A4C-3CF4101386E4}"/>
          </ac:spMkLst>
        </pc:spChg>
        <pc:spChg chg="del">
          <ac:chgData name="Oluwagbotemi Oyefeso" userId="NwWFancOdn2fKbE7WQZiOo0sQfH+o74tpQygnAeMGXw=" providerId="None" clId="Web-{9D3499D3-5646-467A-94F0-5EEB266B2AA0}" dt="2024-12-04T22:11:30.647" v="34"/>
          <ac:spMkLst>
            <pc:docMk/>
            <pc:sldMk cId="1385868049" sldId="261"/>
            <ac:spMk id="235" creationId="{B3B029D7-BE92-A956-0556-6D4DF3B801B6}"/>
          </ac:spMkLst>
        </pc:spChg>
        <pc:spChg chg="del">
          <ac:chgData name="Oluwagbotemi Oyefeso" userId="NwWFancOdn2fKbE7WQZiOo0sQfH+o74tpQygnAeMGXw=" providerId="None" clId="Web-{9D3499D3-5646-467A-94F0-5EEB266B2AA0}" dt="2024-12-04T22:11:30.647" v="33"/>
          <ac:spMkLst>
            <pc:docMk/>
            <pc:sldMk cId="1385868049" sldId="261"/>
            <ac:spMk id="236" creationId="{D0D6D0E2-3F55-D68A-1A62-39627FFB39C7}"/>
          </ac:spMkLst>
        </pc:spChg>
        <pc:spChg chg="del">
          <ac:chgData name="Oluwagbotemi Oyefeso" userId="NwWFancOdn2fKbE7WQZiOo0sQfH+o74tpQygnAeMGXw=" providerId="None" clId="Web-{9D3499D3-5646-467A-94F0-5EEB266B2AA0}" dt="2024-12-04T22:11:30.647" v="32"/>
          <ac:spMkLst>
            <pc:docMk/>
            <pc:sldMk cId="1385868049" sldId="261"/>
            <ac:spMk id="237" creationId="{435146A0-48F7-A2BB-4FDA-9C22DA392AEB}"/>
          </ac:spMkLst>
        </pc:spChg>
        <pc:spChg chg="del">
          <ac:chgData name="Oluwagbotemi Oyefeso" userId="NwWFancOdn2fKbE7WQZiOo0sQfH+o74tpQygnAeMGXw=" providerId="None" clId="Web-{9D3499D3-5646-467A-94F0-5EEB266B2AA0}" dt="2024-12-04T22:11:30.647" v="31"/>
          <ac:spMkLst>
            <pc:docMk/>
            <pc:sldMk cId="1385868049" sldId="261"/>
            <ac:spMk id="238" creationId="{6217D9CF-298D-BA45-4F2B-E06A17EA58D8}"/>
          </ac:spMkLst>
        </pc:spChg>
        <pc:spChg chg="del">
          <ac:chgData name="Oluwagbotemi Oyefeso" userId="NwWFancOdn2fKbE7WQZiOo0sQfH+o74tpQygnAeMGXw=" providerId="None" clId="Web-{9D3499D3-5646-467A-94F0-5EEB266B2AA0}" dt="2024-12-04T22:11:30.647" v="30"/>
          <ac:spMkLst>
            <pc:docMk/>
            <pc:sldMk cId="1385868049" sldId="261"/>
            <ac:spMk id="239" creationId="{922B79DE-69D8-311C-502C-CEB55449B12F}"/>
          </ac:spMkLst>
        </pc:spChg>
        <pc:spChg chg="del">
          <ac:chgData name="Oluwagbotemi Oyefeso" userId="NwWFancOdn2fKbE7WQZiOo0sQfH+o74tpQygnAeMGXw=" providerId="None" clId="Web-{9D3499D3-5646-467A-94F0-5EEB266B2AA0}" dt="2024-12-04T22:11:30.647" v="29"/>
          <ac:spMkLst>
            <pc:docMk/>
            <pc:sldMk cId="1385868049" sldId="261"/>
            <ac:spMk id="240" creationId="{7166E32F-205F-7B0D-938B-45F1B0FC5D57}"/>
          </ac:spMkLst>
        </pc:spChg>
        <pc:spChg chg="del">
          <ac:chgData name="Oluwagbotemi Oyefeso" userId="NwWFancOdn2fKbE7WQZiOo0sQfH+o74tpQygnAeMGXw=" providerId="None" clId="Web-{9D3499D3-5646-467A-94F0-5EEB266B2AA0}" dt="2024-12-04T22:11:30.647" v="28"/>
          <ac:spMkLst>
            <pc:docMk/>
            <pc:sldMk cId="1385868049" sldId="261"/>
            <ac:spMk id="241" creationId="{DFF2A24F-B5FF-4FBD-FFF0-6D51021EF98B}"/>
          </ac:spMkLst>
        </pc:spChg>
        <pc:spChg chg="del">
          <ac:chgData name="Oluwagbotemi Oyefeso" userId="NwWFancOdn2fKbE7WQZiOo0sQfH+o74tpQygnAeMGXw=" providerId="None" clId="Web-{9D3499D3-5646-467A-94F0-5EEB266B2AA0}" dt="2024-12-04T22:11:30.647" v="21"/>
          <ac:spMkLst>
            <pc:docMk/>
            <pc:sldMk cId="1385868049" sldId="261"/>
            <ac:spMk id="284" creationId="{7AE44618-A639-35A0-887F-966EB8531EF3}"/>
          </ac:spMkLst>
        </pc:spChg>
        <pc:spChg chg="del">
          <ac:chgData name="Oluwagbotemi Oyefeso" userId="NwWFancOdn2fKbE7WQZiOo0sQfH+o74tpQygnAeMGXw=" providerId="None" clId="Web-{9D3499D3-5646-467A-94F0-5EEB266B2AA0}" dt="2024-12-04T22:11:30.647" v="20"/>
          <ac:spMkLst>
            <pc:docMk/>
            <pc:sldMk cId="1385868049" sldId="261"/>
            <ac:spMk id="285" creationId="{5B5F0113-9E5D-4506-9B79-EDBB207A462F}"/>
          </ac:spMkLst>
        </pc:spChg>
        <pc:spChg chg="del">
          <ac:chgData name="Oluwagbotemi Oyefeso" userId="NwWFancOdn2fKbE7WQZiOo0sQfH+o74tpQygnAeMGXw=" providerId="None" clId="Web-{9D3499D3-5646-467A-94F0-5EEB266B2AA0}" dt="2024-12-04T22:11:30.647" v="19"/>
          <ac:spMkLst>
            <pc:docMk/>
            <pc:sldMk cId="1385868049" sldId="261"/>
            <ac:spMk id="286" creationId="{561C92DB-0B67-2C40-34BC-9A05619D44C6}"/>
          </ac:spMkLst>
        </pc:spChg>
        <pc:spChg chg="del">
          <ac:chgData name="Oluwagbotemi Oyefeso" userId="NwWFancOdn2fKbE7WQZiOo0sQfH+o74tpQygnAeMGXw=" providerId="None" clId="Web-{9D3499D3-5646-467A-94F0-5EEB266B2AA0}" dt="2024-12-04T22:11:30.647" v="18"/>
          <ac:spMkLst>
            <pc:docMk/>
            <pc:sldMk cId="1385868049" sldId="261"/>
            <ac:spMk id="287" creationId="{035D53A3-CC5F-0C23-1216-A17784F9B4B8}"/>
          </ac:spMkLst>
        </pc:spChg>
        <pc:spChg chg="del">
          <ac:chgData name="Oluwagbotemi Oyefeso" userId="NwWFancOdn2fKbE7WQZiOo0sQfH+o74tpQygnAeMGXw=" providerId="None" clId="Web-{9D3499D3-5646-467A-94F0-5EEB266B2AA0}" dt="2024-12-04T22:11:30.647" v="17"/>
          <ac:spMkLst>
            <pc:docMk/>
            <pc:sldMk cId="1385868049" sldId="261"/>
            <ac:spMk id="288" creationId="{212F4DDF-C23F-8B91-1E3E-99988643AB2B}"/>
          </ac:spMkLst>
        </pc:spChg>
        <pc:spChg chg="del">
          <ac:chgData name="Oluwagbotemi Oyefeso" userId="NwWFancOdn2fKbE7WQZiOo0sQfH+o74tpQygnAeMGXw=" providerId="None" clId="Web-{9D3499D3-5646-467A-94F0-5EEB266B2AA0}" dt="2024-12-04T22:11:30.632" v="11"/>
          <ac:spMkLst>
            <pc:docMk/>
            <pc:sldMk cId="1385868049" sldId="261"/>
            <ac:spMk id="312" creationId="{9A7221E7-40B3-EE18-DDCF-17DB90838BD1}"/>
          </ac:spMkLst>
        </pc:spChg>
        <pc:graphicFrameChg chg="del">
          <ac:chgData name="Oluwagbotemi Oyefeso" userId="NwWFancOdn2fKbE7WQZiOo0sQfH+o74tpQygnAeMGXw=" providerId="None" clId="Web-{9D3499D3-5646-467A-94F0-5EEB266B2AA0}" dt="2024-12-04T22:11:27.788" v="10"/>
          <ac:graphicFrameMkLst>
            <pc:docMk/>
            <pc:sldMk cId="1385868049" sldId="261"/>
            <ac:graphicFrameMk id="303" creationId="{F6EF5DD2-BC71-4D4E-E493-90AE52E1C0C5}"/>
          </ac:graphicFrameMkLst>
        </pc:graphicFrameChg>
        <pc:graphicFrameChg chg="del">
          <ac:chgData name="Oluwagbotemi Oyefeso" userId="NwWFancOdn2fKbE7WQZiOo0sQfH+o74tpQygnAeMGXw=" providerId="None" clId="Web-{9D3499D3-5646-467A-94F0-5EEB266B2AA0}" dt="2024-12-04T22:11:30.647" v="37"/>
          <ac:graphicFrameMkLst>
            <pc:docMk/>
            <pc:sldMk cId="1385868049" sldId="261"/>
            <ac:graphicFrameMk id="313" creationId="{A533E21E-6DDD-1D99-926F-AAE690298864}"/>
          </ac:graphicFrameMkLst>
        </pc:graphicFrameChg>
        <pc:picChg chg="add del mod">
          <ac:chgData name="Oluwagbotemi Oyefeso" userId="NwWFancOdn2fKbE7WQZiOo0sQfH+o74tpQygnAeMGXw=" providerId="None" clId="Web-{9D3499D3-5646-467A-94F0-5EEB266B2AA0}" dt="2024-12-04T22:12:28.370" v="111"/>
          <ac:picMkLst>
            <pc:docMk/>
            <pc:sldMk cId="1385868049" sldId="261"/>
            <ac:picMk id="2" creationId="{928B3832-256A-4AD5-C113-170D280E8978}"/>
          </ac:picMkLst>
        </pc:picChg>
        <pc:picChg chg="add mod">
          <ac:chgData name="Oluwagbotemi Oyefeso" userId="NwWFancOdn2fKbE7WQZiOo0sQfH+o74tpQygnAeMGXw=" providerId="None" clId="Web-{9D3499D3-5646-467A-94F0-5EEB266B2AA0}" dt="2024-12-04T22:13:07.451" v="115" actId="14100"/>
          <ac:picMkLst>
            <pc:docMk/>
            <pc:sldMk cId="1385868049" sldId="261"/>
            <ac:picMk id="3" creationId="{D49C160D-B623-DBEE-7B1F-BD730419F88B}"/>
          </ac:picMkLst>
        </pc:picChg>
      </pc:sldChg>
      <pc:sldChg chg="add del">
        <pc:chgData name="Oluwagbotemi Oyefeso" userId="NwWFancOdn2fKbE7WQZiOo0sQfH+o74tpQygnAeMGXw=" providerId="None" clId="Web-{9D3499D3-5646-467A-94F0-5EEB266B2AA0}" dt="2024-12-04T22:11:37.913" v="72"/>
        <pc:sldMkLst>
          <pc:docMk/>
          <pc:sldMk cId="2070817603" sldId="273"/>
        </pc:sldMkLst>
      </pc:sldChg>
      <pc:sldChg chg="add del">
        <pc:chgData name="Oluwagbotemi Oyefeso" userId="NwWFancOdn2fKbE7WQZiOo0sQfH+o74tpQygnAeMGXw=" providerId="None" clId="Web-{9D3499D3-5646-467A-94F0-5EEB266B2AA0}" dt="2024-12-04T22:11:38.242" v="73"/>
        <pc:sldMkLst>
          <pc:docMk/>
          <pc:sldMk cId="370945181" sldId="275"/>
        </pc:sldMkLst>
      </pc:sldChg>
      <pc:sldChg chg="add del">
        <pc:chgData name="Oluwagbotemi Oyefeso" userId="NwWFancOdn2fKbE7WQZiOo0sQfH+o74tpQygnAeMGXw=" providerId="None" clId="Web-{9D3499D3-5646-467A-94F0-5EEB266B2AA0}" dt="2024-12-04T22:11:45.226" v="95"/>
        <pc:sldMkLst>
          <pc:docMk/>
          <pc:sldMk cId="1994246962" sldId="277"/>
        </pc:sldMkLst>
      </pc:sldChg>
      <pc:sldChg chg="add del">
        <pc:chgData name="Oluwagbotemi Oyefeso" userId="NwWFancOdn2fKbE7WQZiOo0sQfH+o74tpQygnAeMGXw=" providerId="None" clId="Web-{9D3499D3-5646-467A-94F0-5EEB266B2AA0}" dt="2024-12-04T22:11:47.945" v="103"/>
        <pc:sldMkLst>
          <pc:docMk/>
          <pc:sldMk cId="611567175" sldId="278"/>
        </pc:sldMkLst>
      </pc:sldChg>
      <pc:sldChg chg="add del">
        <pc:chgData name="Oluwagbotemi Oyefeso" userId="NwWFancOdn2fKbE7WQZiOo0sQfH+o74tpQygnAeMGXw=" providerId="None" clId="Web-{9D3499D3-5646-467A-94F0-5EEB266B2AA0}" dt="2024-12-04T22:11:40.117" v="81"/>
        <pc:sldMkLst>
          <pc:docMk/>
          <pc:sldMk cId="1420595414" sldId="281"/>
        </pc:sldMkLst>
      </pc:sldChg>
      <pc:sldChg chg="add del">
        <pc:chgData name="Oluwagbotemi Oyefeso" userId="NwWFancOdn2fKbE7WQZiOo0sQfH+o74tpQygnAeMGXw=" providerId="None" clId="Web-{9D3499D3-5646-467A-94F0-5EEB266B2AA0}" dt="2024-12-04T22:11:38.617" v="74"/>
        <pc:sldMkLst>
          <pc:docMk/>
          <pc:sldMk cId="1667462095" sldId="282"/>
        </pc:sldMkLst>
      </pc:sldChg>
      <pc:sldChg chg="add del">
        <pc:chgData name="Oluwagbotemi Oyefeso" userId="NwWFancOdn2fKbE7WQZiOo0sQfH+o74tpQygnAeMGXw=" providerId="None" clId="Web-{9D3499D3-5646-467A-94F0-5EEB266B2AA0}" dt="2024-12-04T22:11:42.601" v="88"/>
        <pc:sldMkLst>
          <pc:docMk/>
          <pc:sldMk cId="3054086706" sldId="283"/>
        </pc:sldMkLst>
      </pc:sldChg>
      <pc:sldChg chg="add del">
        <pc:chgData name="Oluwagbotemi Oyefeso" userId="NwWFancOdn2fKbE7WQZiOo0sQfH+o74tpQygnAeMGXw=" providerId="None" clId="Web-{9D3499D3-5646-467A-94F0-5EEB266B2AA0}" dt="2024-12-04T22:11:42.195" v="87"/>
        <pc:sldMkLst>
          <pc:docMk/>
          <pc:sldMk cId="2032268054" sldId="287"/>
        </pc:sldMkLst>
      </pc:sldChg>
      <pc:sldChg chg="addSp delSp modSp add del">
        <pc:chgData name="Oluwagbotemi Oyefeso" userId="NwWFancOdn2fKbE7WQZiOo0sQfH+o74tpQygnAeMGXw=" providerId="None" clId="Web-{9D3499D3-5646-467A-94F0-5EEB266B2AA0}" dt="2024-12-04T22:23:29.714" v="122"/>
        <pc:sldMkLst>
          <pc:docMk/>
          <pc:sldMk cId="2083028416" sldId="288"/>
        </pc:sldMkLst>
        <pc:picChg chg="add del">
          <ac:chgData name="Oluwagbotemi Oyefeso" userId="NwWFancOdn2fKbE7WQZiOo0sQfH+o74tpQygnAeMGXw=" providerId="None" clId="Web-{9D3499D3-5646-467A-94F0-5EEB266B2AA0}" dt="2024-12-04T22:23:29.714" v="122"/>
          <ac:picMkLst>
            <pc:docMk/>
            <pc:sldMk cId="2083028416" sldId="288"/>
            <ac:picMk id="3" creationId="{3A5EB41B-5837-D42C-822C-C97ABA32A62A}"/>
          </ac:picMkLst>
        </pc:picChg>
        <pc:picChg chg="add del mod">
          <ac:chgData name="Oluwagbotemi Oyefeso" userId="NwWFancOdn2fKbE7WQZiOo0sQfH+o74tpQygnAeMGXw=" providerId="None" clId="Web-{9D3499D3-5646-467A-94F0-5EEB266B2AA0}" dt="2024-12-04T22:23:27.245" v="121"/>
          <ac:picMkLst>
            <pc:docMk/>
            <pc:sldMk cId="2083028416" sldId="288"/>
            <ac:picMk id="5" creationId="{E166EF0B-2501-2E6A-7D27-123753F6C5A6}"/>
          </ac:picMkLst>
        </pc:picChg>
      </pc:sldChg>
      <pc:sldChg chg="add del">
        <pc:chgData name="Oluwagbotemi Oyefeso" userId="NwWFancOdn2fKbE7WQZiOo0sQfH+o74tpQygnAeMGXw=" providerId="None" clId="Web-{9D3499D3-5646-467A-94F0-5EEB266B2AA0}" dt="2024-12-04T22:11:38.804" v="75"/>
        <pc:sldMkLst>
          <pc:docMk/>
          <pc:sldMk cId="2653790617" sldId="289"/>
        </pc:sldMkLst>
      </pc:sldChg>
      <pc:sldChg chg="add del">
        <pc:chgData name="Oluwagbotemi Oyefeso" userId="NwWFancOdn2fKbE7WQZiOo0sQfH+o74tpQygnAeMGXw=" providerId="None" clId="Web-{9D3499D3-5646-467A-94F0-5EEB266B2AA0}" dt="2024-12-04T22:11:38.992" v="76"/>
        <pc:sldMkLst>
          <pc:docMk/>
          <pc:sldMk cId="1008996467" sldId="290"/>
        </pc:sldMkLst>
      </pc:sldChg>
      <pc:sldChg chg="add del">
        <pc:chgData name="Oluwagbotemi Oyefeso" userId="NwWFancOdn2fKbE7WQZiOo0sQfH+o74tpQygnAeMGXw=" providerId="None" clId="Web-{9D3499D3-5646-467A-94F0-5EEB266B2AA0}" dt="2024-12-04T22:11:41.382" v="85"/>
        <pc:sldMkLst>
          <pc:docMk/>
          <pc:sldMk cId="3087385754" sldId="291"/>
        </pc:sldMkLst>
      </pc:sldChg>
      <pc:sldChg chg="add del">
        <pc:chgData name="Oluwagbotemi Oyefeso" userId="NwWFancOdn2fKbE7WQZiOo0sQfH+o74tpQygnAeMGXw=" providerId="None" clId="Web-{9D3499D3-5646-467A-94F0-5EEB266B2AA0}" dt="2024-12-04T22:11:44.117" v="92"/>
        <pc:sldMkLst>
          <pc:docMk/>
          <pc:sldMk cId="1958432151" sldId="292"/>
        </pc:sldMkLst>
      </pc:sldChg>
      <pc:sldChg chg="add del">
        <pc:chgData name="Oluwagbotemi Oyefeso" userId="NwWFancOdn2fKbE7WQZiOo0sQfH+o74tpQygnAeMGXw=" providerId="None" clId="Web-{9D3499D3-5646-467A-94F0-5EEB266B2AA0}" dt="2024-12-04T22:11:43.383" v="90"/>
        <pc:sldMkLst>
          <pc:docMk/>
          <pc:sldMk cId="663182890" sldId="293"/>
        </pc:sldMkLst>
      </pc:sldChg>
      <pc:sldChg chg="add del">
        <pc:chgData name="Oluwagbotemi Oyefeso" userId="NwWFancOdn2fKbE7WQZiOo0sQfH+o74tpQygnAeMGXw=" providerId="None" clId="Web-{9D3499D3-5646-467A-94F0-5EEB266B2AA0}" dt="2024-12-04T22:11:44.523" v="93"/>
        <pc:sldMkLst>
          <pc:docMk/>
          <pc:sldMk cId="4278534278" sldId="294"/>
        </pc:sldMkLst>
      </pc:sldChg>
      <pc:sldChg chg="add del">
        <pc:chgData name="Oluwagbotemi Oyefeso" userId="NwWFancOdn2fKbE7WQZiOo0sQfH+o74tpQygnAeMGXw=" providerId="None" clId="Web-{9D3499D3-5646-467A-94F0-5EEB266B2AA0}" dt="2024-12-04T22:11:43.758" v="91"/>
        <pc:sldMkLst>
          <pc:docMk/>
          <pc:sldMk cId="3221568206" sldId="295"/>
        </pc:sldMkLst>
      </pc:sldChg>
      <pc:sldChg chg="add del">
        <pc:chgData name="Oluwagbotemi Oyefeso" userId="NwWFancOdn2fKbE7WQZiOo0sQfH+o74tpQygnAeMGXw=" providerId="None" clId="Web-{9D3499D3-5646-467A-94F0-5EEB266B2AA0}" dt="2024-12-04T22:11:47.586" v="102"/>
        <pc:sldMkLst>
          <pc:docMk/>
          <pc:sldMk cId="2537578723" sldId="297"/>
        </pc:sldMkLst>
      </pc:sldChg>
      <pc:sldChg chg="add del">
        <pc:chgData name="Oluwagbotemi Oyefeso" userId="NwWFancOdn2fKbE7WQZiOo0sQfH+o74tpQygnAeMGXw=" providerId="None" clId="Web-{9D3499D3-5646-467A-94F0-5EEB266B2AA0}" dt="2024-12-04T22:11:45.898" v="97"/>
        <pc:sldMkLst>
          <pc:docMk/>
          <pc:sldMk cId="691522292" sldId="298"/>
        </pc:sldMkLst>
      </pc:sldChg>
      <pc:sldChg chg="add del">
        <pc:chgData name="Oluwagbotemi Oyefeso" userId="NwWFancOdn2fKbE7WQZiOo0sQfH+o74tpQygnAeMGXw=" providerId="None" clId="Web-{9D3499D3-5646-467A-94F0-5EEB266B2AA0}" dt="2024-12-04T22:11:46.523" v="99"/>
        <pc:sldMkLst>
          <pc:docMk/>
          <pc:sldMk cId="908612201" sldId="299"/>
        </pc:sldMkLst>
      </pc:sldChg>
      <pc:sldChg chg="add del">
        <pc:chgData name="Oluwagbotemi Oyefeso" userId="NwWFancOdn2fKbE7WQZiOo0sQfH+o74tpQygnAeMGXw=" providerId="None" clId="Web-{9D3499D3-5646-467A-94F0-5EEB266B2AA0}" dt="2024-12-04T22:11:46.852" v="100"/>
        <pc:sldMkLst>
          <pc:docMk/>
          <pc:sldMk cId="1356658813" sldId="300"/>
        </pc:sldMkLst>
      </pc:sldChg>
      <pc:sldChg chg="add del">
        <pc:chgData name="Oluwagbotemi Oyefeso" userId="NwWFancOdn2fKbE7WQZiOo0sQfH+o74tpQygnAeMGXw=" providerId="None" clId="Web-{9D3499D3-5646-467A-94F0-5EEB266B2AA0}" dt="2024-12-04T22:11:47.227" v="101"/>
        <pc:sldMkLst>
          <pc:docMk/>
          <pc:sldMk cId="2444171830" sldId="301"/>
        </pc:sldMkLst>
      </pc:sldChg>
      <pc:sldChg chg="add del">
        <pc:chgData name="Oluwagbotemi Oyefeso" userId="NwWFancOdn2fKbE7WQZiOo0sQfH+o74tpQygnAeMGXw=" providerId="None" clId="Web-{9D3499D3-5646-467A-94F0-5EEB266B2AA0}" dt="2024-12-04T22:11:43.008" v="89"/>
        <pc:sldMkLst>
          <pc:docMk/>
          <pc:sldMk cId="3193644654" sldId="302"/>
        </pc:sldMkLst>
      </pc:sldChg>
      <pc:sldChg chg="add del">
        <pc:chgData name="Oluwagbotemi Oyefeso" userId="NwWFancOdn2fKbE7WQZiOo0sQfH+o74tpQygnAeMGXw=" providerId="None" clId="Web-{9D3499D3-5646-467A-94F0-5EEB266B2AA0}" dt="2024-12-04T22:11:46.211" v="98"/>
        <pc:sldMkLst>
          <pc:docMk/>
          <pc:sldMk cId="1243087442" sldId="303"/>
        </pc:sldMkLst>
      </pc:sldChg>
      <pc:sldChg chg="add del">
        <pc:chgData name="Oluwagbotemi Oyefeso" userId="NwWFancOdn2fKbE7WQZiOo0sQfH+o74tpQygnAeMGXw=" providerId="None" clId="Web-{9D3499D3-5646-467A-94F0-5EEB266B2AA0}" dt="2024-12-04T22:11:41.070" v="84"/>
        <pc:sldMkLst>
          <pc:docMk/>
          <pc:sldMk cId="999493280" sldId="305"/>
        </pc:sldMkLst>
      </pc:sldChg>
      <pc:sldChg chg="addSp modSp add del">
        <pc:chgData name="Oluwagbotemi Oyefeso" userId="NwWFancOdn2fKbE7WQZiOo0sQfH+o74tpQygnAeMGXw=" providerId="None" clId="Web-{9D3499D3-5646-467A-94F0-5EEB266B2AA0}" dt="2024-12-04T22:11:40.429" v="82"/>
        <pc:sldMkLst>
          <pc:docMk/>
          <pc:sldMk cId="4187568233" sldId="306"/>
        </pc:sldMkLst>
        <pc:picChg chg="add mod ord">
          <ac:chgData name="Oluwagbotemi Oyefeso" userId="NwWFancOdn2fKbE7WQZiOo0sQfH+o74tpQygnAeMGXw=" providerId="None" clId="Web-{9D3499D3-5646-467A-94F0-5EEB266B2AA0}" dt="2024-12-04T21:35:42.460" v="3"/>
          <ac:picMkLst>
            <pc:docMk/>
            <pc:sldMk cId="4187568233" sldId="306"/>
            <ac:picMk id="2" creationId="{7DDBCFA2-86E6-C129-3E03-240BB4A8B2BC}"/>
          </ac:picMkLst>
        </pc:picChg>
        <pc:picChg chg="mod">
          <ac:chgData name="Oluwagbotemi Oyefeso" userId="NwWFancOdn2fKbE7WQZiOo0sQfH+o74tpQygnAeMGXw=" providerId="None" clId="Web-{9D3499D3-5646-467A-94F0-5EEB266B2AA0}" dt="2024-12-04T21:35:58.492" v="9" actId="1076"/>
          <ac:picMkLst>
            <pc:docMk/>
            <pc:sldMk cId="4187568233" sldId="306"/>
            <ac:picMk id="5" creationId="{CCA4831D-2323-CDFB-CFCC-0E52245EEDA7}"/>
          </ac:picMkLst>
        </pc:picChg>
      </pc:sldChg>
      <pc:sldChg chg="addSp delSp modSp add del">
        <pc:chgData name="Oluwagbotemi Oyefeso" userId="NwWFancOdn2fKbE7WQZiOo0sQfH+o74tpQygnAeMGXw=" providerId="None" clId="Web-{9D3499D3-5646-467A-94F0-5EEB266B2AA0}" dt="2024-12-04T22:13:53.720" v="118" actId="14100"/>
        <pc:sldMkLst>
          <pc:docMk/>
          <pc:sldMk cId="1142381863" sldId="307"/>
        </pc:sldMkLst>
        <pc:picChg chg="add mod">
          <ac:chgData name="Oluwagbotemi Oyefeso" userId="NwWFancOdn2fKbE7WQZiOo0sQfH+o74tpQygnAeMGXw=" providerId="None" clId="Web-{9D3499D3-5646-467A-94F0-5EEB266B2AA0}" dt="2024-12-04T22:13:53.720" v="118" actId="14100"/>
          <ac:picMkLst>
            <pc:docMk/>
            <pc:sldMk cId="1142381863" sldId="307"/>
            <ac:picMk id="2" creationId="{26AE3232-620A-00D9-2E6D-EA467F980BDC}"/>
          </ac:picMkLst>
        </pc:picChg>
        <pc:picChg chg="del">
          <ac:chgData name="Oluwagbotemi Oyefeso" userId="NwWFancOdn2fKbE7WQZiOo0sQfH+o74tpQygnAeMGXw=" providerId="None" clId="Web-{9D3499D3-5646-467A-94F0-5EEB266B2AA0}" dt="2024-12-04T22:11:56.805" v="104"/>
          <ac:picMkLst>
            <pc:docMk/>
            <pc:sldMk cId="1142381863" sldId="307"/>
            <ac:picMk id="4" creationId="{CDB87870-84D5-C592-07EC-C82559E926B1}"/>
          </ac:picMkLst>
        </pc:picChg>
      </pc:sldChg>
      <pc:sldChg chg="add del">
        <pc:chgData name="Oluwagbotemi Oyefeso" userId="NwWFancOdn2fKbE7WQZiOo0sQfH+o74tpQygnAeMGXw=" providerId="None" clId="Web-{9D3499D3-5646-467A-94F0-5EEB266B2AA0}" dt="2024-12-04T22:11:39.304" v="77"/>
        <pc:sldMkLst>
          <pc:docMk/>
          <pc:sldMk cId="1231157386" sldId="308"/>
        </pc:sldMkLst>
      </pc:sldChg>
      <pc:sldChg chg="add del">
        <pc:chgData name="Oluwagbotemi Oyefeso" userId="NwWFancOdn2fKbE7WQZiOo0sQfH+o74tpQygnAeMGXw=" providerId="None" clId="Web-{9D3499D3-5646-467A-94F0-5EEB266B2AA0}" dt="2024-12-04T22:11:41.773" v="86"/>
        <pc:sldMkLst>
          <pc:docMk/>
          <pc:sldMk cId="707908050" sldId="309"/>
        </pc:sldMkLst>
      </pc:sldChg>
      <pc:sldChg chg="add del">
        <pc:chgData name="Oluwagbotemi Oyefeso" userId="NwWFancOdn2fKbE7WQZiOo0sQfH+o74tpQygnAeMGXw=" providerId="None" clId="Web-{9D3499D3-5646-467A-94F0-5EEB266B2AA0}" dt="2024-12-04T22:11:44.883" v="94"/>
        <pc:sldMkLst>
          <pc:docMk/>
          <pc:sldMk cId="1261488552" sldId="310"/>
        </pc:sldMkLst>
      </pc:sldChg>
      <pc:sldChg chg="add del">
        <pc:chgData name="Oluwagbotemi Oyefeso" userId="NwWFancOdn2fKbE7WQZiOo0sQfH+o74tpQygnAeMGXw=" providerId="None" clId="Web-{9D3499D3-5646-467A-94F0-5EEB266B2AA0}" dt="2024-12-04T22:11:40.742" v="83"/>
        <pc:sldMkLst>
          <pc:docMk/>
          <pc:sldMk cId="3019616184" sldId="311"/>
        </pc:sldMkLst>
      </pc:sldChg>
      <pc:sldChg chg="add del">
        <pc:chgData name="Oluwagbotemi Oyefeso" userId="NwWFancOdn2fKbE7WQZiOo0sQfH+o74tpQygnAeMGXw=" providerId="None" clId="Web-{9D3499D3-5646-467A-94F0-5EEB266B2AA0}" dt="2024-12-04T22:11:45.570" v="96"/>
        <pc:sldMkLst>
          <pc:docMk/>
          <pc:sldMk cId="2559973890" sldId="312"/>
        </pc:sldMkLst>
      </pc:sldChg>
    </pc:docChg>
  </pc:docChgLst>
  <pc:docChgLst>
    <pc:chgData name="Nhu Khue Nguyen Khac" userId="41zJ1LbGwkbEWFDME36H2XxhIovitOD4RY0J19yumig=" providerId="None" clId="Web-{5ED6C6D7-DC6C-4938-B67F-FE1A8B92B48B}"/>
    <pc:docChg chg="modSld">
      <pc:chgData name="Nhu Khue Nguyen Khac" userId="41zJ1LbGwkbEWFDME36H2XxhIovitOD4RY0J19yumig=" providerId="None" clId="Web-{5ED6C6D7-DC6C-4938-B67F-FE1A8B92B48B}" dt="2024-12-05T01:58:40.508" v="2" actId="20577"/>
      <pc:docMkLst>
        <pc:docMk/>
      </pc:docMkLst>
      <pc:sldChg chg="modSp">
        <pc:chgData name="Nhu Khue Nguyen Khac" userId="41zJ1LbGwkbEWFDME36H2XxhIovitOD4RY0J19yumig=" providerId="None" clId="Web-{5ED6C6D7-DC6C-4938-B67F-FE1A8B92B48B}" dt="2024-12-05T01:58:40.508" v="2" actId="20577"/>
        <pc:sldMkLst>
          <pc:docMk/>
          <pc:sldMk cId="3221568206" sldId="295"/>
        </pc:sldMkLst>
        <pc:spChg chg="mod">
          <ac:chgData name="Nhu Khue Nguyen Khac" userId="41zJ1LbGwkbEWFDME36H2XxhIovitOD4RY0J19yumig=" providerId="None" clId="Web-{5ED6C6D7-DC6C-4938-B67F-FE1A8B92B48B}" dt="2024-12-05T01:58:40.508" v="2" actId="20577"/>
          <ac:spMkLst>
            <pc:docMk/>
            <pc:sldMk cId="3221568206" sldId="295"/>
            <ac:spMk id="4" creationId="{250D4176-7766-ED3A-4BEB-AD358FD4CA65}"/>
          </ac:spMkLst>
        </pc:spChg>
      </pc:sldChg>
    </pc:docChg>
  </pc:docChgLst>
  <pc:docChgLst>
    <pc:chgData name="Oluwagbotemi Oyefeso" userId="NwWFancOdn2fKbE7WQZiOo0sQfH+o74tpQygnAeMGXw=" providerId="None" clId="Web-{3053F144-BE74-494F-8C38-E5BABD0E5DF5}"/>
    <pc:docChg chg="modSld">
      <pc:chgData name="Oluwagbotemi Oyefeso" userId="NwWFancOdn2fKbE7WQZiOo0sQfH+o74tpQygnAeMGXw=" providerId="None" clId="Web-{3053F144-BE74-494F-8C38-E5BABD0E5DF5}" dt="2024-12-04T16:41:06.655" v="230" actId="1076"/>
      <pc:docMkLst>
        <pc:docMk/>
      </pc:docMkLst>
      <pc:sldChg chg="addSp delSp modSp">
        <pc:chgData name="Oluwagbotemi Oyefeso" userId="NwWFancOdn2fKbE7WQZiOo0sQfH+o74tpQygnAeMGXw=" providerId="None" clId="Web-{3053F144-BE74-494F-8C38-E5BABD0E5DF5}" dt="2024-12-04T15:53:30.415" v="17" actId="20577"/>
        <pc:sldMkLst>
          <pc:docMk/>
          <pc:sldMk cId="1420595414" sldId="281"/>
        </pc:sldMkLst>
        <pc:spChg chg="del mod">
          <ac:chgData name="Oluwagbotemi Oyefeso" userId="NwWFancOdn2fKbE7WQZiOo0sQfH+o74tpQygnAeMGXw=" providerId="None" clId="Web-{3053F144-BE74-494F-8C38-E5BABD0E5DF5}" dt="2024-12-04T15:52:39.929" v="11"/>
          <ac:spMkLst>
            <pc:docMk/>
            <pc:sldMk cId="1420595414" sldId="281"/>
            <ac:spMk id="2" creationId="{47A9874B-BCA9-8420-1595-EDD1865A099A}"/>
          </ac:spMkLst>
        </pc:spChg>
        <pc:spChg chg="mod">
          <ac:chgData name="Oluwagbotemi Oyefeso" userId="NwWFancOdn2fKbE7WQZiOo0sQfH+o74tpQygnAeMGXw=" providerId="None" clId="Web-{3053F144-BE74-494F-8C38-E5BABD0E5DF5}" dt="2024-12-04T15:53:30.415" v="17" actId="20577"/>
          <ac:spMkLst>
            <pc:docMk/>
            <pc:sldMk cId="1420595414" sldId="281"/>
            <ac:spMk id="3" creationId="{68A5FD2B-E3E5-1C2B-0151-21F216B14A33}"/>
          </ac:spMkLst>
        </pc:spChg>
        <pc:spChg chg="add del mod">
          <ac:chgData name="Oluwagbotemi Oyefeso" userId="NwWFancOdn2fKbE7WQZiOo0sQfH+o74tpQygnAeMGXw=" providerId="None" clId="Web-{3053F144-BE74-494F-8C38-E5BABD0E5DF5}" dt="2024-12-04T15:52:44.554" v="12"/>
          <ac:spMkLst>
            <pc:docMk/>
            <pc:sldMk cId="1420595414" sldId="281"/>
            <ac:spMk id="8" creationId="{876B49BA-30A4-C9F0-CF3C-9CF0ADC1A1E2}"/>
          </ac:spMkLst>
        </pc:spChg>
        <pc:picChg chg="add mod ord">
          <ac:chgData name="Oluwagbotemi Oyefeso" userId="NwWFancOdn2fKbE7WQZiOo0sQfH+o74tpQygnAeMGXw=" providerId="None" clId="Web-{3053F144-BE74-494F-8C38-E5BABD0E5DF5}" dt="2024-12-04T15:52:30.054" v="8" actId="14100"/>
          <ac:picMkLst>
            <pc:docMk/>
            <pc:sldMk cId="1420595414" sldId="281"/>
            <ac:picMk id="4" creationId="{76BC6629-5D8D-E6D0-67D5-D17A3219402E}"/>
          </ac:picMkLst>
        </pc:picChg>
      </pc:sldChg>
      <pc:sldChg chg="addSp delSp modSp">
        <pc:chgData name="Oluwagbotemi Oyefeso" userId="NwWFancOdn2fKbE7WQZiOo0sQfH+o74tpQygnAeMGXw=" providerId="None" clId="Web-{3053F144-BE74-494F-8C38-E5BABD0E5DF5}" dt="2024-12-04T16:33:45.546" v="179" actId="1076"/>
        <pc:sldMkLst>
          <pc:docMk/>
          <pc:sldMk cId="3054086706" sldId="283"/>
        </pc:sldMkLst>
        <pc:spChg chg="del">
          <ac:chgData name="Oluwagbotemi Oyefeso" userId="NwWFancOdn2fKbE7WQZiOo0sQfH+o74tpQygnAeMGXw=" providerId="None" clId="Web-{3053F144-BE74-494F-8C38-E5BABD0E5DF5}" dt="2024-12-04T16:30:34.820" v="162"/>
          <ac:spMkLst>
            <pc:docMk/>
            <pc:sldMk cId="3054086706" sldId="283"/>
            <ac:spMk id="2" creationId="{314C27C8-165C-5513-DB4B-9D840097C545}"/>
          </ac:spMkLst>
        </pc:spChg>
        <pc:spChg chg="mod">
          <ac:chgData name="Oluwagbotemi Oyefeso" userId="NwWFancOdn2fKbE7WQZiOo0sQfH+o74tpQygnAeMGXw=" providerId="None" clId="Web-{3053F144-BE74-494F-8C38-E5BABD0E5DF5}" dt="2024-12-04T16:33:45.546" v="179" actId="1076"/>
          <ac:spMkLst>
            <pc:docMk/>
            <pc:sldMk cId="3054086706" sldId="283"/>
            <ac:spMk id="4" creationId="{83302BFD-960F-CBB3-E984-CDC12813A10C}"/>
          </ac:spMkLst>
        </pc:spChg>
        <pc:spChg chg="add del mod">
          <ac:chgData name="Oluwagbotemi Oyefeso" userId="NwWFancOdn2fKbE7WQZiOo0sQfH+o74tpQygnAeMGXw=" providerId="None" clId="Web-{3053F144-BE74-494F-8C38-E5BABD0E5DF5}" dt="2024-12-04T16:30:40.774" v="163"/>
          <ac:spMkLst>
            <pc:docMk/>
            <pc:sldMk cId="3054086706" sldId="283"/>
            <ac:spMk id="6" creationId="{F807E429-BDD3-4B9E-726D-3F293F08207C}"/>
          </ac:spMkLst>
        </pc:spChg>
        <pc:picChg chg="add del mod ord">
          <ac:chgData name="Oluwagbotemi Oyefeso" userId="NwWFancOdn2fKbE7WQZiOo0sQfH+o74tpQygnAeMGXw=" providerId="None" clId="Web-{3053F144-BE74-494F-8C38-E5BABD0E5DF5}" dt="2024-12-04T16:32:40.215" v="164"/>
          <ac:picMkLst>
            <pc:docMk/>
            <pc:sldMk cId="3054086706" sldId="283"/>
            <ac:picMk id="3" creationId="{56F13C4B-1FC3-B3CE-3083-202DB663253F}"/>
          </ac:picMkLst>
        </pc:picChg>
        <pc:picChg chg="add mod ord">
          <ac:chgData name="Oluwagbotemi Oyefeso" userId="NwWFancOdn2fKbE7WQZiOo0sQfH+o74tpQygnAeMGXw=" providerId="None" clId="Web-{3053F144-BE74-494F-8C38-E5BABD0E5DF5}" dt="2024-12-04T16:33:01.435" v="169"/>
          <ac:picMkLst>
            <pc:docMk/>
            <pc:sldMk cId="3054086706" sldId="283"/>
            <ac:picMk id="7" creationId="{C3C77F64-CCA4-018A-FF4A-D2BB8C4A7883}"/>
          </ac:picMkLst>
        </pc:picChg>
        <pc:picChg chg="mod">
          <ac:chgData name="Oluwagbotemi Oyefeso" userId="NwWFancOdn2fKbE7WQZiOo0sQfH+o74tpQygnAeMGXw=" providerId="None" clId="Web-{3053F144-BE74-494F-8C38-E5BABD0E5DF5}" dt="2024-12-04T16:33:11.029" v="171" actId="1076"/>
          <ac:picMkLst>
            <pc:docMk/>
            <pc:sldMk cId="3054086706" sldId="283"/>
            <ac:picMk id="13" creationId="{53D953D9-A78A-8FC0-2CC7-F20ACF386DFA}"/>
          </ac:picMkLst>
        </pc:picChg>
      </pc:sldChg>
      <pc:sldChg chg="addSp delSp modSp">
        <pc:chgData name="Oluwagbotemi Oyefeso" userId="NwWFancOdn2fKbE7WQZiOo0sQfH+o74tpQygnAeMGXw=" providerId="None" clId="Web-{3053F144-BE74-494F-8C38-E5BABD0E5DF5}" dt="2024-12-04T16:14:18.740" v="136" actId="1076"/>
        <pc:sldMkLst>
          <pc:docMk/>
          <pc:sldMk cId="3087385754" sldId="291"/>
        </pc:sldMkLst>
        <pc:spChg chg="del">
          <ac:chgData name="Oluwagbotemi Oyefeso" userId="NwWFancOdn2fKbE7WQZiOo0sQfH+o74tpQygnAeMGXw=" providerId="None" clId="Web-{3053F144-BE74-494F-8C38-E5BABD0E5DF5}" dt="2024-12-04T16:09:02.822" v="55"/>
          <ac:spMkLst>
            <pc:docMk/>
            <pc:sldMk cId="3087385754" sldId="291"/>
            <ac:spMk id="2" creationId="{47A9874B-BCA9-8420-1595-EDD1865A099A}"/>
          </ac:spMkLst>
        </pc:spChg>
        <pc:spChg chg="mod">
          <ac:chgData name="Oluwagbotemi Oyefeso" userId="NwWFancOdn2fKbE7WQZiOo0sQfH+o74tpQygnAeMGXw=" providerId="None" clId="Web-{3053F144-BE74-494F-8C38-E5BABD0E5DF5}" dt="2024-12-04T16:14:18.740" v="136" actId="1076"/>
          <ac:spMkLst>
            <pc:docMk/>
            <pc:sldMk cId="3087385754" sldId="291"/>
            <ac:spMk id="3" creationId="{68A5FD2B-E3E5-1C2B-0151-21F216B14A33}"/>
          </ac:spMkLst>
        </pc:spChg>
        <pc:spChg chg="add del mod">
          <ac:chgData name="Oluwagbotemi Oyefeso" userId="NwWFancOdn2fKbE7WQZiOo0sQfH+o74tpQygnAeMGXw=" providerId="None" clId="Web-{3053F144-BE74-494F-8C38-E5BABD0E5DF5}" dt="2024-12-04T16:09:18.479" v="58"/>
          <ac:spMkLst>
            <pc:docMk/>
            <pc:sldMk cId="3087385754" sldId="291"/>
            <ac:spMk id="6" creationId="{CC28CA8D-DB0A-680F-132F-6875AF991094}"/>
          </ac:spMkLst>
        </pc:spChg>
        <pc:picChg chg="add mod ord">
          <ac:chgData name="Oluwagbotemi Oyefeso" userId="NwWFancOdn2fKbE7WQZiOo0sQfH+o74tpQygnAeMGXw=" providerId="None" clId="Web-{3053F144-BE74-494F-8C38-E5BABD0E5DF5}" dt="2024-12-04T16:09:16.417" v="57"/>
          <ac:picMkLst>
            <pc:docMk/>
            <pc:sldMk cId="3087385754" sldId="291"/>
            <ac:picMk id="4" creationId="{6A604A1B-CCE2-1DAE-78D8-99272C2E9FC0}"/>
          </ac:picMkLst>
        </pc:picChg>
      </pc:sldChg>
      <pc:sldChg chg="addSp delSp modSp">
        <pc:chgData name="Oluwagbotemi Oyefeso" userId="NwWFancOdn2fKbE7WQZiOo0sQfH+o74tpQygnAeMGXw=" providerId="None" clId="Web-{3053F144-BE74-494F-8C38-E5BABD0E5DF5}" dt="2024-12-04T16:39:38.511" v="207" actId="1076"/>
        <pc:sldMkLst>
          <pc:docMk/>
          <pc:sldMk cId="663182890" sldId="293"/>
        </pc:sldMkLst>
        <pc:spChg chg="del">
          <ac:chgData name="Oluwagbotemi Oyefeso" userId="NwWFancOdn2fKbE7WQZiOo0sQfH+o74tpQygnAeMGXw=" providerId="None" clId="Web-{3053F144-BE74-494F-8C38-E5BABD0E5DF5}" dt="2024-12-04T16:38:55.447" v="198"/>
          <ac:spMkLst>
            <pc:docMk/>
            <pc:sldMk cId="663182890" sldId="293"/>
            <ac:spMk id="2" creationId="{314C27C8-165C-5513-DB4B-9D840097C545}"/>
          </ac:spMkLst>
        </pc:spChg>
        <pc:spChg chg="mod">
          <ac:chgData name="Oluwagbotemi Oyefeso" userId="NwWFancOdn2fKbE7WQZiOo0sQfH+o74tpQygnAeMGXw=" providerId="None" clId="Web-{3053F144-BE74-494F-8C38-E5BABD0E5DF5}" dt="2024-12-04T16:39:38.511" v="207" actId="1076"/>
          <ac:spMkLst>
            <pc:docMk/>
            <pc:sldMk cId="663182890" sldId="293"/>
            <ac:spMk id="3" creationId="{FACE640F-7F5A-BDB7-205D-765FA80B6796}"/>
          </ac:spMkLst>
        </pc:spChg>
        <pc:spChg chg="add del mod">
          <ac:chgData name="Oluwagbotemi Oyefeso" userId="NwWFancOdn2fKbE7WQZiOo0sQfH+o74tpQygnAeMGXw=" providerId="None" clId="Web-{3053F144-BE74-494F-8C38-E5BABD0E5DF5}" dt="2024-12-04T16:38:58.791" v="199"/>
          <ac:spMkLst>
            <pc:docMk/>
            <pc:sldMk cId="663182890" sldId="293"/>
            <ac:spMk id="7" creationId="{8F2B62FD-93A5-0F18-3E86-2156B1E6D468}"/>
          </ac:spMkLst>
        </pc:spChg>
        <pc:picChg chg="add mod ord">
          <ac:chgData name="Oluwagbotemi Oyefeso" userId="NwWFancOdn2fKbE7WQZiOo0sQfH+o74tpQygnAeMGXw=" providerId="None" clId="Web-{3053F144-BE74-494F-8C38-E5BABD0E5DF5}" dt="2024-12-04T16:39:13.447" v="203" actId="1076"/>
          <ac:picMkLst>
            <pc:docMk/>
            <pc:sldMk cId="663182890" sldId="293"/>
            <ac:picMk id="4" creationId="{0E535550-2519-CAD6-0742-762BC99EF57A}"/>
          </ac:picMkLst>
        </pc:picChg>
        <pc:picChg chg="mod">
          <ac:chgData name="Oluwagbotemi Oyefeso" userId="NwWFancOdn2fKbE7WQZiOo0sQfH+o74tpQygnAeMGXw=" providerId="None" clId="Web-{3053F144-BE74-494F-8C38-E5BABD0E5DF5}" dt="2024-12-04T16:39:34.073" v="206" actId="1076"/>
          <ac:picMkLst>
            <pc:docMk/>
            <pc:sldMk cId="663182890" sldId="293"/>
            <ac:picMk id="5" creationId="{EC6E921B-4BFD-44B6-B8AA-32AA93D52084}"/>
          </ac:picMkLst>
        </pc:picChg>
      </pc:sldChg>
      <pc:sldChg chg="addSp delSp modSp">
        <pc:chgData name="Oluwagbotemi Oyefeso" userId="NwWFancOdn2fKbE7WQZiOo0sQfH+o74tpQygnAeMGXw=" providerId="None" clId="Web-{3053F144-BE74-494F-8C38-E5BABD0E5DF5}" dt="2024-12-04T16:41:06.655" v="230" actId="1076"/>
        <pc:sldMkLst>
          <pc:docMk/>
          <pc:sldMk cId="3221568206" sldId="295"/>
        </pc:sldMkLst>
        <pc:spChg chg="del">
          <ac:chgData name="Oluwagbotemi Oyefeso" userId="NwWFancOdn2fKbE7WQZiOo0sQfH+o74tpQygnAeMGXw=" providerId="None" clId="Web-{3053F144-BE74-494F-8C38-E5BABD0E5DF5}" dt="2024-12-04T16:40:00.934" v="212"/>
          <ac:spMkLst>
            <pc:docMk/>
            <pc:sldMk cId="3221568206" sldId="295"/>
            <ac:spMk id="2" creationId="{22117B13-83C3-73CE-255E-24EC53D997B7}"/>
          </ac:spMkLst>
        </pc:spChg>
        <pc:spChg chg="mod">
          <ac:chgData name="Oluwagbotemi Oyefeso" userId="NwWFancOdn2fKbE7WQZiOo0sQfH+o74tpQygnAeMGXw=" providerId="None" clId="Web-{3053F144-BE74-494F-8C38-E5BABD0E5DF5}" dt="2024-12-04T16:41:06.655" v="230" actId="1076"/>
          <ac:spMkLst>
            <pc:docMk/>
            <pc:sldMk cId="3221568206" sldId="295"/>
            <ac:spMk id="4" creationId="{250D4176-7766-ED3A-4BEB-AD358FD4CA65}"/>
          </ac:spMkLst>
        </pc:spChg>
        <pc:spChg chg="add del mod">
          <ac:chgData name="Oluwagbotemi Oyefeso" userId="NwWFancOdn2fKbE7WQZiOo0sQfH+o74tpQygnAeMGXw=" providerId="None" clId="Web-{3053F144-BE74-494F-8C38-E5BABD0E5DF5}" dt="2024-12-04T16:40:05.371" v="214"/>
          <ac:spMkLst>
            <pc:docMk/>
            <pc:sldMk cId="3221568206" sldId="295"/>
            <ac:spMk id="7" creationId="{F407DFF2-8B51-C5DA-E625-432AB01D2B5A}"/>
          </ac:spMkLst>
        </pc:spChg>
        <pc:picChg chg="add mod ord">
          <ac:chgData name="Oluwagbotemi Oyefeso" userId="NwWFancOdn2fKbE7WQZiOo0sQfH+o74tpQygnAeMGXw=" providerId="None" clId="Web-{3053F144-BE74-494F-8C38-E5BABD0E5DF5}" dt="2024-12-04T16:41:00.014" v="229" actId="1076"/>
          <ac:picMkLst>
            <pc:docMk/>
            <pc:sldMk cId="3221568206" sldId="295"/>
            <ac:picMk id="3" creationId="{B0147277-8615-B8B9-3F79-696BFE1FDAB8}"/>
          </ac:picMkLst>
        </pc:picChg>
        <pc:picChg chg="mod">
          <ac:chgData name="Oluwagbotemi Oyefeso" userId="NwWFancOdn2fKbE7WQZiOo0sQfH+o74tpQygnAeMGXw=" providerId="None" clId="Web-{3053F144-BE74-494F-8C38-E5BABD0E5DF5}" dt="2024-12-04T16:40:08.840" v="215" actId="1076"/>
          <ac:picMkLst>
            <pc:docMk/>
            <pc:sldMk cId="3221568206" sldId="295"/>
            <ac:picMk id="5" creationId="{70A797EC-B211-50B9-4D05-A2E838F203FE}"/>
          </ac:picMkLst>
        </pc:picChg>
      </pc:sldChg>
      <pc:sldChg chg="addSp delSp modSp">
        <pc:chgData name="Oluwagbotemi Oyefeso" userId="NwWFancOdn2fKbE7WQZiOo0sQfH+o74tpQygnAeMGXw=" providerId="None" clId="Web-{3053F144-BE74-494F-8C38-E5BABD0E5DF5}" dt="2024-12-04T16:35:19.518" v="192" actId="1076"/>
        <pc:sldMkLst>
          <pc:docMk/>
          <pc:sldMk cId="3193644654" sldId="302"/>
        </pc:sldMkLst>
        <pc:spChg chg="del">
          <ac:chgData name="Oluwagbotemi Oyefeso" userId="NwWFancOdn2fKbE7WQZiOo0sQfH+o74tpQygnAeMGXw=" providerId="None" clId="Web-{3053F144-BE74-494F-8C38-E5BABD0E5DF5}" dt="2024-12-04T16:34:08.515" v="184"/>
          <ac:spMkLst>
            <pc:docMk/>
            <pc:sldMk cId="3193644654" sldId="302"/>
            <ac:spMk id="2" creationId="{314C27C8-165C-5513-DB4B-9D840097C545}"/>
          </ac:spMkLst>
        </pc:spChg>
        <pc:spChg chg="mod">
          <ac:chgData name="Oluwagbotemi Oyefeso" userId="NwWFancOdn2fKbE7WQZiOo0sQfH+o74tpQygnAeMGXw=" providerId="None" clId="Web-{3053F144-BE74-494F-8C38-E5BABD0E5DF5}" dt="2024-12-04T16:35:19.518" v="192" actId="1076"/>
          <ac:spMkLst>
            <pc:docMk/>
            <pc:sldMk cId="3193644654" sldId="302"/>
            <ac:spMk id="5" creationId="{0A502F82-98AF-1C8B-7EFA-422A4EAE2322}"/>
          </ac:spMkLst>
        </pc:spChg>
        <pc:spChg chg="add del mod">
          <ac:chgData name="Oluwagbotemi Oyefeso" userId="NwWFancOdn2fKbE7WQZiOo0sQfH+o74tpQygnAeMGXw=" providerId="None" clId="Web-{3053F144-BE74-494F-8C38-E5BABD0E5DF5}" dt="2024-12-04T16:34:25.971" v="187"/>
          <ac:spMkLst>
            <pc:docMk/>
            <pc:sldMk cId="3193644654" sldId="302"/>
            <ac:spMk id="7" creationId="{17381914-8764-9B0B-5DF5-A54913EDFBEC}"/>
          </ac:spMkLst>
        </pc:spChg>
        <pc:picChg chg="add mod ord">
          <ac:chgData name="Oluwagbotemi Oyefeso" userId="NwWFancOdn2fKbE7WQZiOo0sQfH+o74tpQygnAeMGXw=" providerId="None" clId="Web-{3053F144-BE74-494F-8C38-E5BABD0E5DF5}" dt="2024-12-04T16:34:21.609" v="186" actId="14100"/>
          <ac:picMkLst>
            <pc:docMk/>
            <pc:sldMk cId="3193644654" sldId="302"/>
            <ac:picMk id="3" creationId="{800B9B2B-506C-5E9D-E273-F20D5B6075C3}"/>
          </ac:picMkLst>
        </pc:picChg>
        <pc:picChg chg="mod">
          <ac:chgData name="Oluwagbotemi Oyefeso" userId="NwWFancOdn2fKbE7WQZiOo0sQfH+o74tpQygnAeMGXw=" providerId="None" clId="Web-{3053F144-BE74-494F-8C38-E5BABD0E5DF5}" dt="2024-12-04T16:34:31.656" v="188" actId="1076"/>
          <ac:picMkLst>
            <pc:docMk/>
            <pc:sldMk cId="3193644654" sldId="302"/>
            <ac:picMk id="6" creationId="{7451A745-B30C-A3B7-0F88-265EBA820A0F}"/>
          </ac:picMkLst>
        </pc:picChg>
      </pc:sldChg>
      <pc:sldChg chg="addSp delSp modSp">
        <pc:chgData name="Oluwagbotemi Oyefeso" userId="NwWFancOdn2fKbE7WQZiOo0sQfH+o74tpQygnAeMGXw=" providerId="None" clId="Web-{3053F144-BE74-494F-8C38-E5BABD0E5DF5}" dt="2024-12-04T16:06:45.661" v="52" actId="1076"/>
        <pc:sldMkLst>
          <pc:docMk/>
          <pc:sldMk cId="999493280" sldId="305"/>
        </pc:sldMkLst>
        <pc:spChg chg="del">
          <ac:chgData name="Oluwagbotemi Oyefeso" userId="NwWFancOdn2fKbE7WQZiOo0sQfH+o74tpQygnAeMGXw=" providerId="None" clId="Web-{3053F144-BE74-494F-8C38-E5BABD0E5DF5}" dt="2024-12-04T16:05:46.269" v="43"/>
          <ac:spMkLst>
            <pc:docMk/>
            <pc:sldMk cId="999493280" sldId="305"/>
            <ac:spMk id="2" creationId="{47A9874B-BCA9-8420-1595-EDD1865A099A}"/>
          </ac:spMkLst>
        </pc:spChg>
        <pc:spChg chg="mod">
          <ac:chgData name="Oluwagbotemi Oyefeso" userId="NwWFancOdn2fKbE7WQZiOo0sQfH+o74tpQygnAeMGXw=" providerId="None" clId="Web-{3053F144-BE74-494F-8C38-E5BABD0E5DF5}" dt="2024-12-04T16:06:45.661" v="52" actId="1076"/>
          <ac:spMkLst>
            <pc:docMk/>
            <pc:sldMk cId="999493280" sldId="305"/>
            <ac:spMk id="3" creationId="{68A5FD2B-E3E5-1C2B-0151-21F216B14A33}"/>
          </ac:spMkLst>
        </pc:spChg>
        <pc:spChg chg="add del mod">
          <ac:chgData name="Oluwagbotemi Oyefeso" userId="NwWFancOdn2fKbE7WQZiOo0sQfH+o74tpQygnAeMGXw=" providerId="None" clId="Web-{3053F144-BE74-494F-8C38-E5BABD0E5DF5}" dt="2024-12-04T16:05:49.831" v="44"/>
          <ac:spMkLst>
            <pc:docMk/>
            <pc:sldMk cId="999493280" sldId="305"/>
            <ac:spMk id="6" creationId="{149B923A-D833-BAD7-0B1B-0AA6050CA95E}"/>
          </ac:spMkLst>
        </pc:spChg>
        <pc:picChg chg="add mod ord">
          <ac:chgData name="Oluwagbotemi Oyefeso" userId="NwWFancOdn2fKbE7WQZiOo0sQfH+o74tpQygnAeMGXw=" providerId="None" clId="Web-{3053F144-BE74-494F-8C38-E5BABD0E5DF5}" dt="2024-12-04T16:05:42.347" v="42"/>
          <ac:picMkLst>
            <pc:docMk/>
            <pc:sldMk cId="999493280" sldId="305"/>
            <ac:picMk id="4" creationId="{C9C9373F-20EB-7F8F-672F-3B377836DDCE}"/>
          </ac:picMkLst>
        </pc:picChg>
      </pc:sldChg>
      <pc:sldChg chg="addSp modSp">
        <pc:chgData name="Oluwagbotemi Oyefeso" userId="NwWFancOdn2fKbE7WQZiOo0sQfH+o74tpQygnAeMGXw=" providerId="None" clId="Web-{3053F144-BE74-494F-8C38-E5BABD0E5DF5}" dt="2024-12-04T16:24:53.480" v="157" actId="1076"/>
        <pc:sldMkLst>
          <pc:docMk/>
          <pc:sldMk cId="707908050" sldId="309"/>
        </pc:sldMkLst>
        <pc:picChg chg="add mod ord">
          <ac:chgData name="Oluwagbotemi Oyefeso" userId="NwWFancOdn2fKbE7WQZiOo0sQfH+o74tpQygnAeMGXw=" providerId="None" clId="Web-{3053F144-BE74-494F-8C38-E5BABD0E5DF5}" dt="2024-12-04T16:24:44.089" v="154" actId="1076"/>
          <ac:picMkLst>
            <pc:docMk/>
            <pc:sldMk cId="707908050" sldId="309"/>
            <ac:picMk id="3" creationId="{CAB3C07C-1255-94DA-8E92-700DFBDD0CC7}"/>
          </ac:picMkLst>
        </pc:picChg>
        <pc:picChg chg="mod modCrop">
          <ac:chgData name="Oluwagbotemi Oyefeso" userId="NwWFancOdn2fKbE7WQZiOo0sQfH+o74tpQygnAeMGXw=" providerId="None" clId="Web-{3053F144-BE74-494F-8C38-E5BABD0E5DF5}" dt="2024-12-04T16:24:53.480" v="157" actId="1076"/>
          <ac:picMkLst>
            <pc:docMk/>
            <pc:sldMk cId="707908050" sldId="309"/>
            <ac:picMk id="5" creationId="{F4D9CE51-61C0-3108-7CDF-D1EFF40C1081}"/>
          </ac:picMkLst>
        </pc:picChg>
      </pc:sldChg>
      <pc:sldChg chg="addSp delSp modSp">
        <pc:chgData name="Oluwagbotemi Oyefeso" userId="NwWFancOdn2fKbE7WQZiOo0sQfH+o74tpQygnAeMGXw=" providerId="None" clId="Web-{3053F144-BE74-494F-8C38-E5BABD0E5DF5}" dt="2024-12-04T16:00:41.039" v="37" actId="1076"/>
        <pc:sldMkLst>
          <pc:docMk/>
          <pc:sldMk cId="3019616184" sldId="311"/>
        </pc:sldMkLst>
        <pc:picChg chg="add del mod ord">
          <ac:chgData name="Oluwagbotemi Oyefeso" userId="NwWFancOdn2fKbE7WQZiOo0sQfH+o74tpQygnAeMGXw=" providerId="None" clId="Web-{3053F144-BE74-494F-8C38-E5BABD0E5DF5}" dt="2024-12-04T16:00:19.320" v="33"/>
          <ac:picMkLst>
            <pc:docMk/>
            <pc:sldMk cId="3019616184" sldId="311"/>
            <ac:picMk id="3" creationId="{7AD65BC3-2822-DCFA-3EC3-CDB27F60E881}"/>
          </ac:picMkLst>
        </pc:picChg>
        <pc:picChg chg="add mod ord">
          <ac:chgData name="Oluwagbotemi Oyefeso" userId="NwWFancOdn2fKbE7WQZiOo0sQfH+o74tpQygnAeMGXw=" providerId="None" clId="Web-{3053F144-BE74-494F-8C38-E5BABD0E5DF5}" dt="2024-12-04T16:00:29.805" v="35"/>
          <ac:picMkLst>
            <pc:docMk/>
            <pc:sldMk cId="3019616184" sldId="311"/>
            <ac:picMk id="4" creationId="{10C7EE34-1B7D-4BDA-C6C9-7F37905D2523}"/>
          </ac:picMkLst>
        </pc:picChg>
        <pc:picChg chg="mod modCrop">
          <ac:chgData name="Oluwagbotemi Oyefeso" userId="NwWFancOdn2fKbE7WQZiOo0sQfH+o74tpQygnAeMGXw=" providerId="None" clId="Web-{3053F144-BE74-494F-8C38-E5BABD0E5DF5}" dt="2024-12-04T16:00:41.039" v="37" actId="1076"/>
          <ac:picMkLst>
            <pc:docMk/>
            <pc:sldMk cId="3019616184" sldId="311"/>
            <ac:picMk id="6" creationId="{18DCE7DD-B0A0-5E98-D6F0-02DCC18ED879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976AB79-C677-3DB7-78CF-9305D586148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13AB137-CEA6-0244-F12B-1ECC21172D0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C994AA-C437-4EF4-8BEF-0B832D7FA420}" type="datetimeFigureOut">
              <a:rPr lang="en-US" smtClean="0"/>
              <a:t>12/4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868EC96-C6CC-F2AF-D90F-143F4D20A07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F8EC8D-EF88-0275-F75C-A789924433B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757874-EF65-4B61-B062-40C932C812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0278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39CA527-F925-414F-B4F4-8F4244CDDC80}" type="datetimeFigureOut">
              <a:rPr lang="en-US" smtClean="0"/>
              <a:t>12/4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37E2AA-278D-0B48-A5DE-00B1FC5BDA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65593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37E2AA-278D-0B48-A5DE-00B1FC5BDAF9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22720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har char="•"/>
            </a:pPr>
            <a:r>
              <a:rPr lang="en-US"/>
              <a:t>Predicting student dropouts using classification methods (such as logistic regression, </a:t>
            </a:r>
            <a:r>
              <a:rPr lang="en-US" err="1"/>
              <a:t>kNN</a:t>
            </a:r>
            <a:r>
              <a:rPr lang="en-US"/>
              <a:t> classifications, and decision trees) can offer valuable insights into the factors contributing to students leaving university. Here are the main learnings from predicting student dropouts through classification methods:</a:t>
            </a:r>
          </a:p>
          <a:p>
            <a:pPr lvl="2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har char="•"/>
            </a:pPr>
            <a:r>
              <a:rPr lang="en-US"/>
              <a:t>Identifying Key Predictors of Student Dropout</a:t>
            </a:r>
          </a:p>
          <a:p>
            <a:pPr lvl="2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har char="•"/>
            </a:pPr>
            <a:r>
              <a:rPr lang="en-US"/>
              <a:t>Understanding Patterns and Relationships</a:t>
            </a:r>
          </a:p>
          <a:p>
            <a:pPr lvl="2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har char="•"/>
            </a:pPr>
            <a:r>
              <a:rPr lang="en-US"/>
              <a:t>Improving Student Retention Strategi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37E2AA-278D-0B48-A5DE-00B1FC5BDAF9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66077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8">
            <a:extLst>
              <a:ext uri="{FF2B5EF4-FFF2-40B4-BE49-F238E27FC236}">
                <a16:creationId xmlns:a16="http://schemas.microsoft.com/office/drawing/2014/main" id="{D56268A4-B555-72BE-6160-318763ECAA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12D44DBA-D665-923B-A38C-C68A9C039E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15924" y="777240"/>
            <a:ext cx="10360152" cy="5303520"/>
          </a:xfrm>
          <a:prstGeom prst="rect">
            <a:avLst/>
          </a:prstGeom>
          <a:solidFill>
            <a:schemeClr val="bg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E8C189B-2E00-67DA-E342-3440F5EBB4C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286000"/>
            <a:ext cx="9144000" cy="2286000"/>
          </a:xfrm>
        </p:spPr>
        <p:txBody>
          <a:bodyPr anchor="ctr" anchorCtr="0">
            <a:noAutofit/>
          </a:bodyPr>
          <a:lstStyle>
            <a:lvl1pPr algn="ctr">
              <a:defRPr sz="4400"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246750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64">
            <a:extLst>
              <a:ext uri="{FF2B5EF4-FFF2-40B4-BE49-F238E27FC236}">
                <a16:creationId xmlns:a16="http://schemas.microsoft.com/office/drawing/2014/main" id="{7C62E1FE-8CAE-1FE1-6A91-DFE7F1D870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4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0" y="0"/>
            <a:ext cx="12188825" cy="6858000"/>
          </a:xfrm>
          <a:prstGeom prst="rect">
            <a:avLst/>
          </a:prstGeom>
          <a:solidFill>
            <a:schemeClr val="accent1"/>
          </a:solidFill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66219"/>
            <a:ext cx="10389243" cy="1424470"/>
          </a:xfrm>
        </p:spPr>
        <p:txBody>
          <a:bodyPr anchor="ctr" anchorCtr="0"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813049-5F46-053E-6279-8183259649A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38200" y="1779325"/>
            <a:ext cx="3490732" cy="4297680"/>
          </a:xfrm>
        </p:spPr>
        <p:txBody>
          <a:bodyPr tIns="274320">
            <a:normAutofit/>
          </a:bodyPr>
          <a:lstStyle>
            <a:lvl1pPr marL="0" indent="0">
              <a:spcBef>
                <a:spcPts val="1000"/>
              </a:spcBef>
              <a:spcAft>
                <a:spcPts val="1000"/>
              </a:spcAft>
              <a:buNone/>
              <a:defRPr sz="1800"/>
            </a:lvl1pPr>
            <a:lvl2pPr marL="228600" indent="0">
              <a:spcBef>
                <a:spcPts val="1000"/>
              </a:spcBef>
              <a:spcAft>
                <a:spcPts val="1000"/>
              </a:spcAft>
              <a:buNone/>
              <a:defRPr sz="1800"/>
            </a:lvl2pPr>
            <a:lvl3pPr marL="685800" indent="0">
              <a:spcBef>
                <a:spcPts val="1000"/>
              </a:spcBef>
              <a:spcAft>
                <a:spcPts val="1000"/>
              </a:spcAft>
              <a:buNone/>
              <a:defRPr sz="1800"/>
            </a:lvl3pPr>
            <a:lvl4pPr marL="1143000" indent="0">
              <a:spcBef>
                <a:spcPts val="1000"/>
              </a:spcBef>
              <a:spcAft>
                <a:spcPts val="1000"/>
              </a:spcAft>
              <a:buNone/>
              <a:defRPr sz="1800"/>
            </a:lvl4pPr>
            <a:lvl5pPr marL="1600200" indent="0">
              <a:spcBef>
                <a:spcPts val="1000"/>
              </a:spcBef>
              <a:spcAft>
                <a:spcPts val="1000"/>
              </a:spcAft>
              <a:buNone/>
              <a:defRPr sz="1800"/>
            </a:lvl5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able Placeholder 7">
            <a:extLst>
              <a:ext uri="{FF2B5EF4-FFF2-40B4-BE49-F238E27FC236}">
                <a16:creationId xmlns:a16="http://schemas.microsoft.com/office/drawing/2014/main" id="{423FEB60-8FB5-7F10-EDD7-8AB4B3139EF6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4502552" y="1779325"/>
            <a:ext cx="6724891" cy="4297680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12/4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8150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17">
            <a:extLst>
              <a:ext uri="{FF2B5EF4-FFF2-40B4-BE49-F238E27FC236}">
                <a16:creationId xmlns:a16="http://schemas.microsoft.com/office/drawing/2014/main" id="{32B61A96-5F36-8895-B920-FC12FD76DC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8774BC39-6D56-474E-28BE-99260516AB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14400" y="777240"/>
            <a:ext cx="10361676" cy="5303520"/>
          </a:xfrm>
          <a:prstGeom prst="rect">
            <a:avLst/>
          </a:prstGeom>
          <a:solidFill>
            <a:schemeClr val="bg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73070" y="914400"/>
            <a:ext cx="10045861" cy="1146680"/>
          </a:xfrm>
        </p:spPr>
        <p:txBody>
          <a:bodyPr anchor="b" anchorCtr="0">
            <a:noAutofit/>
          </a:bodyPr>
          <a:lstStyle>
            <a:lvl1pPr algn="ctr">
              <a:defRPr sz="36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813049-5F46-053E-6279-8183259649A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1423687" y="2288614"/>
            <a:ext cx="5382228" cy="3475578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None/>
              <a:defRPr sz="1800"/>
            </a:lvl1pPr>
            <a:lvl2pPr marL="685800">
              <a:spcBef>
                <a:spcPts val="600"/>
              </a:spcBef>
              <a:spcAft>
                <a:spcPts val="600"/>
              </a:spcAft>
              <a:defRPr sz="1800"/>
            </a:lvl2pPr>
            <a:lvl3pPr marL="1143000">
              <a:spcBef>
                <a:spcPts val="600"/>
              </a:spcBef>
              <a:spcAft>
                <a:spcPts val="600"/>
              </a:spcAft>
              <a:defRPr sz="1800"/>
            </a:lvl3pPr>
            <a:lvl4pPr marL="1600200">
              <a:spcBef>
                <a:spcPts val="600"/>
              </a:spcBef>
              <a:spcAft>
                <a:spcPts val="600"/>
              </a:spcAft>
              <a:defRPr sz="1800"/>
            </a:lvl4pPr>
            <a:lvl5pPr marL="2057400">
              <a:spcBef>
                <a:spcPts val="600"/>
              </a:spcBef>
              <a:spcAft>
                <a:spcPts val="600"/>
              </a:spcAft>
              <a:defRPr sz="1800"/>
            </a:lvl5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2DFB03A-367B-9ADA-8071-E22871EC115F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7451790" y="2288614"/>
            <a:ext cx="3108960" cy="3475578"/>
          </a:xfrm>
        </p:spPr>
        <p:txBody>
          <a:bodyPr tIns="91440">
            <a:normAutofit/>
          </a:bodyPr>
          <a:lstStyle>
            <a:lvl1pPr marL="0" indent="0">
              <a:lnSpc>
                <a:spcPct val="150000"/>
              </a:lnSpc>
              <a:spcBef>
                <a:spcPts val="1000"/>
              </a:spcBef>
              <a:spcAft>
                <a:spcPts val="600"/>
              </a:spcAft>
              <a:buNone/>
              <a:defRPr sz="1800"/>
            </a:lvl1pPr>
            <a:lvl2pPr marL="228600" indent="0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None/>
              <a:defRPr sz="1800"/>
            </a:lvl2pPr>
            <a:lvl3pPr marL="685800" indent="0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None/>
              <a:defRPr sz="1800"/>
            </a:lvl3pPr>
            <a:lvl4pPr marL="1143000" indent="0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None/>
              <a:defRPr sz="1800"/>
            </a:lvl4pPr>
            <a:lvl5pPr marL="1600200" indent="0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None/>
              <a:defRPr sz="1800"/>
            </a:lvl5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12/4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7039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64">
            <a:extLst>
              <a:ext uri="{FF2B5EF4-FFF2-40B4-BE49-F238E27FC236}">
                <a16:creationId xmlns:a16="http://schemas.microsoft.com/office/drawing/2014/main" id="{55E792AE-CF37-9DD8-2703-49480775F0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4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0" y="0"/>
            <a:ext cx="12188825" cy="6858000"/>
          </a:xfrm>
          <a:prstGeom prst="rect">
            <a:avLst/>
          </a:prstGeom>
          <a:solidFill>
            <a:schemeClr val="accent1"/>
          </a:solidFill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33629"/>
            <a:ext cx="10515600" cy="1325563"/>
          </a:xfrm>
        </p:spPr>
        <p:txBody>
          <a:bodyPr anchor="b" anchorCtr="0"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able Placeholder 7">
            <a:extLst>
              <a:ext uri="{FF2B5EF4-FFF2-40B4-BE49-F238E27FC236}">
                <a16:creationId xmlns:a16="http://schemas.microsoft.com/office/drawing/2014/main" id="{0CEAFE70-86D3-8690-31CA-F9A1FBA494D0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914400" y="1779325"/>
            <a:ext cx="10361676" cy="429768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56EB0F-63C8-5F75-A333-3413A9DC6F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12/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4DE333-25B4-E092-1CC4-C3D20BA251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1AF200-E81F-A326-0EDB-4B93C71D9B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609929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13">
            <a:extLst>
              <a:ext uri="{FF2B5EF4-FFF2-40B4-BE49-F238E27FC236}">
                <a16:creationId xmlns:a16="http://schemas.microsoft.com/office/drawing/2014/main" id="{A1BB4149-7987-3EF4-952D-2271B4DD8A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07B335AD-7A4B-841B-52BC-8FF32D99D7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799368" y="0"/>
            <a:ext cx="4593265" cy="6858000"/>
          </a:xfrm>
          <a:prstGeom prst="rect">
            <a:avLst/>
          </a:prstGeom>
          <a:solidFill>
            <a:schemeClr val="bg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3375" y="92597"/>
            <a:ext cx="3905250" cy="3032567"/>
          </a:xfrm>
        </p:spPr>
        <p:txBody>
          <a:bodyPr anchor="b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13E19FD-68BB-0F8D-21CF-9E48B806073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43375" y="4004321"/>
            <a:ext cx="3905250" cy="2743200"/>
          </a:xfrm>
        </p:spPr>
        <p:txBody>
          <a:bodyPr>
            <a:normAutofit/>
          </a:bodyPr>
          <a:lstStyle>
            <a:lvl1pPr marL="0" indent="0" algn="ctr">
              <a:buNone/>
              <a:defRPr sz="1800"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1629670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E09FF6-05B1-68D6-6437-4DB4905F99D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2E8F6C8-50E0-2580-29FC-D0CE1C9A2E0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C9F016-5846-A682-3B30-BB8931AC03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201D7F-EF28-4EC3-9E07-E80191D46067}" type="datetimeFigureOut">
              <a:rPr lang="en-US" smtClean="0"/>
              <a:t>12/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DF243D-527B-C7CD-6E42-3BFCE6B8F9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3FF388-A922-E253-A095-DF022DA6A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FEA3F2-15C6-400C-9E9C-6CFD073794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64578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A8EED3-4EBF-DC59-8DD3-0BCF296CC4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A895898-6A0E-1B8E-82CC-894F4EFAE23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849D44-1300-D1A3-71F3-89DB9A4548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201D7F-EF28-4EC3-9E07-E80191D46067}" type="datetimeFigureOut">
              <a:rPr lang="en-US" smtClean="0"/>
              <a:t>12/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DD523A-C521-D82C-5396-1C022EFF84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A9B48E-D2B7-1E76-07E9-B8387697CB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FEA3F2-15C6-400C-9E9C-6CFD073794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636108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E868A-1579-0DA9-A9F3-51DA2FF27C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D3FF7BE-091E-FA0C-93AA-9B5191CEDA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96D508-CCD6-6721-7CAD-E96EDF497C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201D7F-EF28-4EC3-9E07-E80191D46067}" type="datetimeFigureOut">
              <a:rPr lang="en-US" smtClean="0"/>
              <a:t>12/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26ACA5-3F90-E282-AB21-0115A003ED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8C938D-68EE-6518-4ED1-E8B5FFD998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FEA3F2-15C6-400C-9E9C-6CFD073794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91902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3FB20B-4FE2-F95C-CB71-591B12B727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76F1130-5607-6167-F422-E153A4F9CA3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FF7531B-D847-856F-2DF5-3B235950FBE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FA52EA-D3AF-F63B-4F16-8E6EB05290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201D7F-EF28-4EC3-9E07-E80191D46067}" type="datetimeFigureOut">
              <a:rPr lang="en-US" smtClean="0"/>
              <a:t>12/4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FDD93C0-DC85-E670-4838-BF266C8D3B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5684732-AC9A-9261-A5F7-E59F9F0AF6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FEA3F2-15C6-400C-9E9C-6CFD073794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660949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B24306-8C14-137F-F3FE-0F3D566B44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2CB363B-49B7-59F1-B523-C3F328A4B4D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693120D-EF2E-E4A2-258F-C95E93B054C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6C07CFF-9092-8156-81AF-DB0C78AD114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09FCB73-18A5-3487-AEAE-97AB991FFAE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F21E406-52D2-AD3C-819F-E725165446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201D7F-EF28-4EC3-9E07-E80191D46067}" type="datetimeFigureOut">
              <a:rPr lang="en-US" smtClean="0"/>
              <a:t>12/4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768C269-61DE-704C-4917-96F711D23C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366AB32-81B3-4BF7-F58A-56F551D067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FEA3F2-15C6-400C-9E9C-6CFD073794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949595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F63622-83BE-C298-FD38-0A5BD8C97B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FEC2B01-7717-9E0F-5061-105CC97069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201D7F-EF28-4EC3-9E07-E80191D46067}" type="datetimeFigureOut">
              <a:rPr lang="en-US" smtClean="0"/>
              <a:t>12/4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9064DF8-3398-848B-51AC-C0BB18F7C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9BABCF-D564-C4EB-251D-903CB3F445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FEA3F2-15C6-400C-9E9C-6CFD073794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33571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38">
            <a:extLst>
              <a:ext uri="{FF2B5EF4-FFF2-40B4-BE49-F238E27FC236}">
                <a16:creationId xmlns:a16="http://schemas.microsoft.com/office/drawing/2014/main" id="{31550E6E-10D6-E75A-F6B1-8800DAC2CB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02" b="7802"/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73038" y="1457865"/>
            <a:ext cx="3200400" cy="4580626"/>
          </a:xfrm>
        </p:spPr>
        <p:txBody>
          <a:bodyPr anchor="t">
            <a:noAutofit/>
          </a:bodyPr>
          <a:lstStyle>
            <a:lvl1pPr algn="ctr">
              <a:defRPr sz="36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72710C-A212-1B12-06CD-FA2A14F89D6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96287" y="1457864"/>
            <a:ext cx="4986068" cy="4580627"/>
          </a:xfrm>
        </p:spPr>
        <p:txBody>
          <a:bodyPr tIns="45720" anchor="t" anchorCtr="0">
            <a:normAutofit/>
          </a:bodyPr>
          <a:lstStyle>
            <a:lvl1pPr marL="0" indent="0">
              <a:lnSpc>
                <a:spcPct val="150000"/>
              </a:lnSpc>
              <a:spcBef>
                <a:spcPts val="1000"/>
              </a:spcBef>
              <a:spcAft>
                <a:spcPts val="1200"/>
              </a:spcAft>
              <a:buNone/>
              <a:defRPr sz="2400"/>
            </a:lvl1pPr>
            <a:lvl2pPr>
              <a:lnSpc>
                <a:spcPct val="150000"/>
              </a:lnSpc>
              <a:spcBef>
                <a:spcPts val="1000"/>
              </a:spcBef>
              <a:spcAft>
                <a:spcPts val="1200"/>
              </a:spcAft>
              <a:defRPr sz="2000"/>
            </a:lvl2pPr>
            <a:lvl3pPr>
              <a:lnSpc>
                <a:spcPct val="150000"/>
              </a:lnSpc>
              <a:spcBef>
                <a:spcPts val="1000"/>
              </a:spcBef>
              <a:spcAft>
                <a:spcPts val="1200"/>
              </a:spcAft>
              <a:defRPr sz="1800"/>
            </a:lvl3pPr>
            <a:lvl4pPr>
              <a:lnSpc>
                <a:spcPct val="150000"/>
              </a:lnSpc>
              <a:spcBef>
                <a:spcPts val="1000"/>
              </a:spcBef>
              <a:spcAft>
                <a:spcPts val="1200"/>
              </a:spcAft>
              <a:defRPr sz="1600"/>
            </a:lvl4pPr>
            <a:lvl5pPr>
              <a:lnSpc>
                <a:spcPct val="150000"/>
              </a:lnSpc>
              <a:spcBef>
                <a:spcPts val="1000"/>
              </a:spcBef>
              <a:spcAft>
                <a:spcPts val="1200"/>
              </a:spcAft>
              <a:defRPr sz="1600"/>
            </a:lvl5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56EB0F-63C8-5F75-A333-3413A9DC6F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12/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4DE333-25B4-E092-1CC4-C3D20BA251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1AF200-E81F-A326-0EDB-4B93C71D9B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438804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D4520D6-F5B9-D181-9195-CD88F2E78D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201D7F-EF28-4EC3-9E07-E80191D46067}" type="datetimeFigureOut">
              <a:rPr lang="en-US" smtClean="0"/>
              <a:t>12/4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B2B27A-B889-95C5-E00E-36536B0C9E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EA785B-E43E-940F-DCD4-C76D104C1F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FEA3F2-15C6-400C-9E9C-6CFD073794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160118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2C296F-F58A-5359-459E-73D654C990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E780FF-FC05-800C-3CED-CFDBD8597D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3C3004C-D1BB-8729-11E2-05AB27B61E8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BD119E9-E2DB-E2E9-D6B9-6B87FA8E2B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201D7F-EF28-4EC3-9E07-E80191D46067}" type="datetimeFigureOut">
              <a:rPr lang="en-US" smtClean="0"/>
              <a:t>12/4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3F73C8-95F7-D826-81BA-8A816C91FA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5DE9E0-52D0-9552-CE26-A0FC46653B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FEA3F2-15C6-400C-9E9C-6CFD073794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009121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6C93E0-CCCF-2713-FA1E-D678935FE6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90580BF-C0E6-5CD6-59DE-6AE689CFA34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B20AF6-32CA-9B5F-C20C-78CE8793533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137B451-8840-9ECD-93A9-0393535AA0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201D7F-EF28-4EC3-9E07-E80191D46067}" type="datetimeFigureOut">
              <a:rPr lang="en-US" smtClean="0"/>
              <a:t>12/4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06A3EFE-CD98-6705-71E6-FCC551B6F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B3A1D9C-84EB-59D9-0092-A312BEBC0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FEA3F2-15C6-400C-9E9C-6CFD073794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62038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23BB76-8DD2-729B-FFE6-B3146F5DEC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5032406-C367-14FA-D3DC-3FAF15A0EC3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66B57B-B563-5EDE-F2F2-122CD8CF22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201D7F-EF28-4EC3-9E07-E80191D46067}" type="datetimeFigureOut">
              <a:rPr lang="en-US" smtClean="0"/>
              <a:t>12/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66FC3D3-9966-8382-BDDE-6609005133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3D01FC8-AEF5-9212-C19D-6F6CF6D743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FEA3F2-15C6-400C-9E9C-6CFD073794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182347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068FB74-5199-5E7F-131F-B2259D85D62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6A38E95-7704-82CF-4B15-07CEF5F064C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695651-E436-32D1-C7A3-8A718D9097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201D7F-EF28-4EC3-9E07-E80191D46067}" type="datetimeFigureOut">
              <a:rPr lang="en-US" smtClean="0"/>
              <a:t>12/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6F4040-9385-55F9-93E7-A59F127D3F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A4C3EF-F616-79F8-4C77-6E71E9190B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FEA3F2-15C6-400C-9E9C-6CFD073794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47657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8">
            <a:extLst>
              <a:ext uri="{FF2B5EF4-FFF2-40B4-BE49-F238E27FC236}">
                <a16:creationId xmlns:a16="http://schemas.microsoft.com/office/drawing/2014/main" id="{61F88592-24FD-96EC-ADB3-C0B7682DF9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076C4EAC-BBDE-1963-BD72-3BD2A47DC59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18259" y="798653"/>
            <a:ext cx="5166167" cy="5289630"/>
          </a:xfrm>
          <a:solidFill>
            <a:schemeClr val="bg1">
              <a:alpha val="95000"/>
            </a:schemeClr>
          </a:solidFill>
        </p:spPr>
        <p:txBody>
          <a:bodyPr lIns="274320" rIns="274320" anchor="ctr">
            <a:noAutofit/>
          </a:bodyPr>
          <a:lstStyle>
            <a:lvl1pPr algn="ctr">
              <a:defRPr sz="44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592AF4F-2F83-7005-B3AC-6FCC7FB1914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84424" y="787077"/>
            <a:ext cx="5166167" cy="5289631"/>
          </a:xfrm>
          <a:solidFill>
            <a:schemeClr val="bg1">
              <a:alpha val="95000"/>
            </a:schemeClr>
          </a:solidFill>
        </p:spPr>
        <p:txBody>
          <a:bodyPr>
            <a:noAutofit/>
          </a:bodyPr>
          <a:lstStyle>
            <a:lvl1pPr marL="342900" indent="-342900" algn="ctr">
              <a:buFont typeface="Arial" panose="020B0604020202020204" pitchFamily="34" charset="0"/>
              <a:buChar char="•"/>
              <a:defRPr sz="2000"/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Click icon to add pictu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56EB0F-63C8-5F75-A333-3413A9DC6F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12/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4DE333-25B4-E092-1CC4-C3D20BA251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1AF200-E81F-A326-0EDB-4B93C71D9B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84204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13">
            <a:extLst>
              <a:ext uri="{FF2B5EF4-FFF2-40B4-BE49-F238E27FC236}">
                <a16:creationId xmlns:a16="http://schemas.microsoft.com/office/drawing/2014/main" id="{BD017017-3234-8C24-B9FC-80FB1120D1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CC226FA8-C264-7189-EEA0-5264009074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15924" y="777240"/>
            <a:ext cx="10360152" cy="5303520"/>
          </a:xfrm>
          <a:prstGeom prst="rect">
            <a:avLst/>
          </a:prstGeom>
          <a:solidFill>
            <a:schemeClr val="bg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772C41-A024-2F33-1F04-21E003FA729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96135" y="1124887"/>
            <a:ext cx="4480560" cy="2352356"/>
          </a:xfrm>
        </p:spPr>
        <p:txBody>
          <a:bodyPr anchor="b">
            <a:noAutofit/>
          </a:bodyPr>
          <a:lstStyle>
            <a:lvl1pPr algn="l">
              <a:defRPr sz="36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73BC2DF-9C2A-052C-AD2C-0A8ABAA503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96135" y="3571197"/>
            <a:ext cx="4476967" cy="2123547"/>
          </a:xfrm>
        </p:spPr>
        <p:txBody>
          <a:bodyPr>
            <a:noAutofit/>
          </a:bodyPr>
          <a:lstStyle>
            <a:lvl1pPr marL="0" indent="0" algn="l">
              <a:buNone/>
              <a:defRPr sz="2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AA872EE9-FDFB-95A7-3547-DCAA0B51FE2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329545" y="1148037"/>
            <a:ext cx="4365199" cy="4546707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0070940-5919-2C95-2278-32E50BF14D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12/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57D599-49CF-19FE-6D86-C5EDB765F4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931DF1-1C8D-86B9-BFDD-098FFC00FD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41863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17">
            <a:extLst>
              <a:ext uri="{FF2B5EF4-FFF2-40B4-BE49-F238E27FC236}">
                <a16:creationId xmlns:a16="http://schemas.microsoft.com/office/drawing/2014/main" id="{28B211FD-99D2-B373-669F-6E0F8E5B33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C4079EDA-1B98-E3C1-23AD-7FB6F39FE2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15924" y="777240"/>
            <a:ext cx="10360152" cy="5303520"/>
          </a:xfrm>
          <a:prstGeom prst="rect">
            <a:avLst/>
          </a:prstGeom>
          <a:solidFill>
            <a:schemeClr val="bg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16598" y="995425"/>
            <a:ext cx="8958805" cy="1077230"/>
          </a:xfrm>
        </p:spPr>
        <p:txBody>
          <a:bodyPr anchor="b" anchorCtr="0">
            <a:noAutofit/>
          </a:bodyPr>
          <a:lstStyle>
            <a:lvl1pPr algn="ctr">
              <a:defRPr sz="36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76BDAEBE-3A0C-BBCD-A1F0-E1F1E07000E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1616599" y="2257061"/>
            <a:ext cx="8958804" cy="3541853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1000"/>
              </a:spcAft>
              <a:buNone/>
              <a:defRPr sz="1800"/>
            </a:lvl1pPr>
            <a:lvl2pPr marL="228600">
              <a:spcBef>
                <a:spcPts val="600"/>
              </a:spcBef>
              <a:spcAft>
                <a:spcPts val="600"/>
              </a:spcAft>
              <a:defRPr sz="1800"/>
            </a:lvl2pPr>
            <a:lvl3pPr marL="685800">
              <a:spcBef>
                <a:spcPts val="600"/>
              </a:spcBef>
              <a:spcAft>
                <a:spcPts val="600"/>
              </a:spcAft>
              <a:defRPr sz="1800"/>
            </a:lvl3pPr>
            <a:lvl4pPr marL="1143000">
              <a:spcBef>
                <a:spcPts val="600"/>
              </a:spcBef>
              <a:spcAft>
                <a:spcPts val="600"/>
              </a:spcAft>
              <a:defRPr sz="1800"/>
            </a:lvl4pPr>
            <a:lvl5pPr marL="1600200">
              <a:spcBef>
                <a:spcPts val="600"/>
              </a:spcBef>
              <a:spcAft>
                <a:spcPts val="600"/>
              </a:spcAft>
              <a:defRPr sz="1800"/>
            </a:lvl5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56EB0F-63C8-5F75-A333-3413A9DC6F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12/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4DE333-25B4-E092-1CC4-C3D20BA251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1AF200-E81F-A326-0EDB-4B93C71D9B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78947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pictur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5">
            <a:extLst>
              <a:ext uri="{FF2B5EF4-FFF2-40B4-BE49-F238E27FC236}">
                <a16:creationId xmlns:a16="http://schemas.microsoft.com/office/drawing/2014/main" id="{236F3DDC-7FF8-F6A3-16EA-A01E7F7953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524" y="0"/>
            <a:ext cx="12188952" cy="6858000"/>
          </a:xfrm>
          <a:prstGeom prst="rect">
            <a:avLst/>
          </a:prstGeom>
        </p:spPr>
      </p:pic>
      <p:sp>
        <p:nvSpPr>
          <p:cNvPr id="9" name="Title 33">
            <a:extLst>
              <a:ext uri="{FF2B5EF4-FFF2-40B4-BE49-F238E27FC236}">
                <a16:creationId xmlns:a16="http://schemas.microsoft.com/office/drawing/2014/main" id="{E728EBB2-9164-AC06-6682-9505D88F95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915924" y="777240"/>
            <a:ext cx="6115497" cy="5303520"/>
          </a:xfrm>
          <a:prstGeom prst="rect">
            <a:avLst/>
          </a:prstGeom>
          <a:solidFill>
            <a:schemeClr val="bg1">
              <a:alpha val="95000"/>
            </a:schemeClr>
          </a:solidFill>
        </p:spPr>
        <p:txBody>
          <a:bodyPr vert="horz" lIns="91440" tIns="45720" rIns="91440" bIns="4572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16937" y="879674"/>
            <a:ext cx="5377406" cy="2550005"/>
          </a:xfrm>
        </p:spPr>
        <p:txBody>
          <a:bodyPr anchor="b" anchorCtr="0"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53BA3AA6-E309-C0C7-B2C6-3705384B706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17638" y="3576900"/>
            <a:ext cx="4126635" cy="2233613"/>
          </a:xfr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12/4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54381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540E5FCC-3981-FB51-F0ED-B8BAB5C45A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3BCE2C9E-7BC3-0EB6-EBE4-26EE33A1F2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15924" y="777240"/>
            <a:ext cx="10360152" cy="530352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69357" y="891251"/>
            <a:ext cx="9653286" cy="1158254"/>
          </a:xfrm>
        </p:spPr>
        <p:txBody>
          <a:bodyPr anchor="b" anchorCtr="0">
            <a:noAutofit/>
          </a:bodyPr>
          <a:lstStyle>
            <a:lvl1pPr algn="ctr">
              <a:defRPr sz="36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12/4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ECB36301-48E6-AF64-5055-0CCA79474EAE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1400540" y="2257062"/>
            <a:ext cx="4062711" cy="3541853"/>
          </a:xfrm>
        </p:spPr>
        <p:txBody>
          <a:bodyPr>
            <a:normAutofit/>
          </a:bodyPr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800"/>
            </a:lvl1pPr>
            <a:lvl2pPr marL="228600">
              <a:spcBef>
                <a:spcPts val="600"/>
              </a:spcBef>
              <a:spcAft>
                <a:spcPts val="600"/>
              </a:spcAft>
              <a:defRPr sz="1800"/>
            </a:lvl2pPr>
            <a:lvl3pPr marL="685800">
              <a:spcBef>
                <a:spcPts val="600"/>
              </a:spcBef>
              <a:spcAft>
                <a:spcPts val="600"/>
              </a:spcAft>
              <a:defRPr sz="1800"/>
            </a:lvl3pPr>
            <a:lvl4pPr marL="1143000">
              <a:spcBef>
                <a:spcPts val="600"/>
              </a:spcBef>
              <a:spcAft>
                <a:spcPts val="600"/>
              </a:spcAft>
              <a:defRPr sz="1800"/>
            </a:lvl4pPr>
            <a:lvl5pPr marL="1600200">
              <a:spcBef>
                <a:spcPts val="600"/>
              </a:spcBef>
              <a:spcAft>
                <a:spcPts val="600"/>
              </a:spcAft>
              <a:defRPr sz="1800"/>
            </a:lvl5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F973906-E48D-CA3F-3E96-205D2E688DC5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6588311" y="2257061"/>
            <a:ext cx="4203151" cy="3541853"/>
          </a:xfrm>
        </p:spPr>
        <p:txBody>
          <a:bodyPr>
            <a:normAutofit/>
          </a:bodyPr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800"/>
            </a:lvl1pPr>
            <a:lvl2pPr marL="228600">
              <a:spcBef>
                <a:spcPts val="600"/>
              </a:spcBef>
              <a:spcAft>
                <a:spcPts val="600"/>
              </a:spcAft>
              <a:defRPr sz="1800"/>
            </a:lvl2pPr>
            <a:lvl3pPr marL="685800">
              <a:spcBef>
                <a:spcPts val="600"/>
              </a:spcBef>
              <a:spcAft>
                <a:spcPts val="600"/>
              </a:spcAft>
              <a:defRPr sz="1800"/>
            </a:lvl3pPr>
            <a:lvl4pPr marL="1143000">
              <a:spcBef>
                <a:spcPts val="600"/>
              </a:spcBef>
              <a:spcAft>
                <a:spcPts val="600"/>
              </a:spcAft>
              <a:defRPr sz="1800"/>
            </a:lvl4pPr>
            <a:lvl5pPr marL="1600200">
              <a:spcBef>
                <a:spcPts val="600"/>
              </a:spcBef>
              <a:spcAft>
                <a:spcPts val="600"/>
              </a:spcAft>
              <a:defRPr sz="1800"/>
            </a:lvl5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052907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44">
            <a:extLst>
              <a:ext uri="{FF2B5EF4-FFF2-40B4-BE49-F238E27FC236}">
                <a16:creationId xmlns:a16="http://schemas.microsoft.com/office/drawing/2014/main" id="{07AB38AA-85DC-3DF3-4ED4-B78FB670FF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8F2DD44F-3200-BF06-94F9-C6A07EAD76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14400" y="777240"/>
            <a:ext cx="10361676" cy="5303520"/>
          </a:xfrm>
          <a:prstGeom prst="rect">
            <a:avLst/>
          </a:prstGeom>
          <a:solidFill>
            <a:schemeClr val="bg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2361" y="777240"/>
            <a:ext cx="10007278" cy="1283843"/>
          </a:xfrm>
        </p:spPr>
        <p:txBody>
          <a:bodyPr anchor="b" anchorCtr="0">
            <a:noAutofit/>
          </a:bodyPr>
          <a:lstStyle>
            <a:lvl1pPr algn="ctr">
              <a:defRPr sz="36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813049-5F46-053E-6279-8183259649A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1447029" y="2261313"/>
            <a:ext cx="3275746" cy="365335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None/>
              <a:defRPr sz="1800"/>
            </a:lvl1pPr>
            <a:lvl2pPr marL="228600" indent="0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None/>
              <a:defRPr sz="1800"/>
            </a:lvl2pPr>
            <a:lvl3pPr marL="914400" indent="0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None/>
              <a:defRPr sz="1800"/>
            </a:lvl3pPr>
            <a:lvl4pPr marL="1143000" indent="0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None/>
              <a:defRPr sz="1800"/>
            </a:lvl4pPr>
            <a:lvl5pPr marL="1600200" indent="0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None/>
              <a:defRPr sz="1800"/>
            </a:lvl5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12/4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C2AA9CA0-D45C-FE27-D4E4-DD219364E4FB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5150734" y="2261313"/>
            <a:ext cx="5594236" cy="3653350"/>
          </a:xfrm>
        </p:spPr>
        <p:txBody>
          <a:bodyPr>
            <a:normAutofit/>
          </a:bodyPr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800"/>
            </a:lvl1pPr>
            <a:lvl2pPr marL="228600">
              <a:spcBef>
                <a:spcPts val="600"/>
              </a:spcBef>
              <a:spcAft>
                <a:spcPts val="600"/>
              </a:spcAft>
              <a:defRPr sz="1800"/>
            </a:lvl2pPr>
            <a:lvl3pPr marL="685800">
              <a:spcBef>
                <a:spcPts val="600"/>
              </a:spcBef>
              <a:spcAft>
                <a:spcPts val="600"/>
              </a:spcAft>
              <a:defRPr sz="1800"/>
            </a:lvl3pPr>
            <a:lvl4pPr marL="1143000">
              <a:spcBef>
                <a:spcPts val="600"/>
              </a:spcBef>
              <a:spcAft>
                <a:spcPts val="600"/>
              </a:spcAft>
              <a:defRPr sz="1800"/>
            </a:lvl4pPr>
            <a:lvl5pPr marL="1600200">
              <a:spcBef>
                <a:spcPts val="600"/>
              </a:spcBef>
              <a:spcAft>
                <a:spcPts val="600"/>
              </a:spcAft>
              <a:defRPr sz="1800"/>
            </a:lvl5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578526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8">
            <a:extLst>
              <a:ext uri="{FF2B5EF4-FFF2-40B4-BE49-F238E27FC236}">
                <a16:creationId xmlns:a16="http://schemas.microsoft.com/office/drawing/2014/main" id="{F1219773-33FA-E4F9-4EAE-0764613F62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92817C37-9292-1CF3-6529-DEF7174273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15924" y="777240"/>
            <a:ext cx="10360152" cy="5303520"/>
          </a:xfrm>
          <a:prstGeom prst="rect">
            <a:avLst/>
          </a:prstGeom>
          <a:solidFill>
            <a:schemeClr val="bg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772C41-A024-2F33-1F04-21E003FA729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61275" y="1134320"/>
            <a:ext cx="4803494" cy="1956122"/>
          </a:xfrm>
        </p:spPr>
        <p:txBody>
          <a:bodyPr anchor="b">
            <a:noAutofit/>
          </a:bodyPr>
          <a:lstStyle>
            <a:lvl1pPr algn="l">
              <a:defRPr sz="36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73BC2DF-9C2A-052C-AD2C-0A8ABAA503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61275" y="3418271"/>
            <a:ext cx="4803494" cy="2305409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5D7B0DF-23EB-406B-9FAA-0182626A919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308563" y="1146638"/>
            <a:ext cx="4389120" cy="4572000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0070940-5919-2C95-2278-32E50BF14D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12/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57D599-49CF-19FE-6D86-C5EDB765F4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931DF1-1C8D-86B9-BFDD-098FFC00FD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37277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image" Target="../media/image10.emf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FD97564-C310-6E8C-8689-CE18881B4A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AD99FA-26D9-873B-BE7F-26FEC5C233A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319819E-0266-97DD-DFD1-BAAA06AE323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6D8061D-18C3-4F4F-85EF-561633F58754}" type="datetimeFigureOut">
              <a:rPr lang="en-US" smtClean="0"/>
              <a:t>12/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FD19C9-01CE-9E2A-CDA5-C15940F055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801085-7B28-048D-E3D3-9C3614268D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5934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60" r:id="rId2"/>
    <p:sldLayoutId id="2147483672" r:id="rId3"/>
    <p:sldLayoutId id="2147483673" r:id="rId4"/>
    <p:sldLayoutId id="2147483669" r:id="rId5"/>
    <p:sldLayoutId id="2147483670" r:id="rId6"/>
    <p:sldLayoutId id="2147483662" r:id="rId7"/>
    <p:sldLayoutId id="2147483663" r:id="rId8"/>
    <p:sldLayoutId id="2147483668" r:id="rId9"/>
    <p:sldLayoutId id="2147483666" r:id="rId10"/>
    <p:sldLayoutId id="2147483664" r:id="rId11"/>
    <p:sldLayoutId id="2147483665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2A01BAA-17A5-871F-6FCC-4A5A165B53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3" imgH="473" progId="TCLayout.ActiveDocument.1">
                  <p:embed/>
                </p:oleObj>
              </mc:Choice>
              <mc:Fallback>
                <p:oleObj name="think-cell Slide" r:id="rId14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2A01BAA-17A5-871F-6FCC-4A5A165B53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5DCED1F-6BDC-6639-75B8-F88ED8F696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0711EF-C200-F1B1-29F3-A543E79558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F4E03D5-0B29-1C18-157F-D292DC9B163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69201D7F-EF28-4EC3-9E07-E80191D46067}" type="datetimeFigureOut">
              <a:rPr lang="en-US" smtClean="0"/>
              <a:t>12/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AED1195-1715-79D4-F7CA-73664D1C7F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3ACEB3-023E-16CA-1632-F7B101004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3FEA3F2-15C6-400C-9E9C-6CFD073794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7820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2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1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1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archive.ics.uci.edu/dataset/697/predict+students+dropout+and+academic+success" TargetMode="External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.xml"/><Relationship Id="rId5" Type="http://schemas.openxmlformats.org/officeDocument/2006/relationships/image" Target="../media/image19.png"/><Relationship Id="rId4" Type="http://schemas.openxmlformats.org/officeDocument/2006/relationships/image" Target="../media/image10.emf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0047101-8D42-6100-9CEA-AEC0FAEAB60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86000"/>
            <a:ext cx="9144000" cy="2286000"/>
          </a:xfrm>
          <a:noFill/>
        </p:spPr>
        <p:txBody>
          <a:bodyPr>
            <a:noAutofit/>
          </a:bodyPr>
          <a:lstStyle/>
          <a:p>
            <a:r>
              <a:rPr lang="en-US"/>
              <a:t>Predict Student Dropouts</a:t>
            </a:r>
            <a:br>
              <a:rPr lang="en-US"/>
            </a:br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69B47DA-C360-6367-7DFB-2862F67CFF59}"/>
              </a:ext>
            </a:extLst>
          </p:cNvPr>
          <p:cNvSpPr txBox="1"/>
          <p:nvPr/>
        </p:nvSpPr>
        <p:spPr>
          <a:xfrm>
            <a:off x="7284720" y="3718560"/>
            <a:ext cx="345440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Dave Widjaja</a:t>
            </a:r>
          </a:p>
          <a:p>
            <a:r>
              <a:rPr lang="en-US"/>
              <a:t>Joseph Mcclain</a:t>
            </a:r>
          </a:p>
          <a:p>
            <a:r>
              <a:rPr lang="en-US"/>
              <a:t>JP Millan</a:t>
            </a:r>
          </a:p>
          <a:p>
            <a:r>
              <a:rPr lang="en-US"/>
              <a:t>Keerthanaa </a:t>
            </a:r>
            <a:r>
              <a:rPr lang="en-US" err="1"/>
              <a:t>Ellur</a:t>
            </a:r>
            <a:endParaRPr lang="en-US"/>
          </a:p>
          <a:p>
            <a:r>
              <a:rPr lang="en-US"/>
              <a:t>Khue Nguyen</a:t>
            </a:r>
          </a:p>
          <a:p>
            <a:r>
              <a:rPr lang="en-US"/>
              <a:t>Temi </a:t>
            </a:r>
            <a:r>
              <a:rPr lang="en-US" err="1"/>
              <a:t>Oyefeso</a:t>
            </a:r>
            <a:endParaRPr lang="en-US"/>
          </a:p>
          <a:p>
            <a:r>
              <a:rPr lang="en-US"/>
              <a:t>Vince Luong</a:t>
            </a:r>
          </a:p>
        </p:txBody>
      </p:sp>
      <p:pic>
        <p:nvPicPr>
          <p:cNvPr id="3" name="Picture 2" descr="A blue and yellow cover with buildings and text&#10;&#10;Description automatically generated">
            <a:extLst>
              <a:ext uri="{FF2B5EF4-FFF2-40B4-BE49-F238E27FC236}">
                <a16:creationId xmlns:a16="http://schemas.microsoft.com/office/drawing/2014/main" id="{3A5EB41B-5837-D42C-822C-C97ABA32A6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07" y="2352"/>
            <a:ext cx="12182592" cy="6853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302841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4ABE40-AA00-F366-A36A-B3F1AADBF02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96135" y="1124887"/>
            <a:ext cx="4480560" cy="2352356"/>
          </a:xfrm>
          <a:noFill/>
        </p:spPr>
        <p:txBody>
          <a:bodyPr>
            <a:noAutofit/>
          </a:bodyPr>
          <a:lstStyle/>
          <a:p>
            <a:r>
              <a:rPr lang="en-US"/>
              <a:t>Data Preprocessing</a:t>
            </a:r>
          </a:p>
        </p:txBody>
      </p:sp>
      <p:pic>
        <p:nvPicPr>
          <p:cNvPr id="12" name="Picture Placeholder 11">
            <a:extLst>
              <a:ext uri="{FF2B5EF4-FFF2-40B4-BE49-F238E27FC236}">
                <a16:creationId xmlns:a16="http://schemas.microsoft.com/office/drawing/2014/main" id="{124EF263-E4FC-C771-6BCF-0D86EC8E885E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/>
          <a:srcRect l="3591" r="3591"/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4109E65-E6EE-30AB-9FB4-A3C2525925F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-1214"/>
            <a:ext cx="12211414" cy="6865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803753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blue and white rectangle with text&#10;&#10;Description automatically generated">
            <a:extLst>
              <a:ext uri="{FF2B5EF4-FFF2-40B4-BE49-F238E27FC236}">
                <a16:creationId xmlns:a16="http://schemas.microsoft.com/office/drawing/2014/main" id="{76BC6629-5D8D-E6D0-67D5-D17A321940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823" y="-3528"/>
            <a:ext cx="12192000" cy="6858000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A5FD2B-E3E5-1C2B-0151-21F216B14A33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1343390" y="2457087"/>
            <a:ext cx="5643861" cy="3541853"/>
          </a:xfrm>
          <a:noFill/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sz="2000" b="1">
                <a:ea typeface="+mn-lt"/>
                <a:cs typeface="+mn-lt"/>
              </a:rPr>
              <a:t>Dataset Summary:</a:t>
            </a:r>
            <a:endParaRPr lang="en-US" sz="2000"/>
          </a:p>
          <a:p>
            <a:pPr marL="285750" indent="-285750">
              <a:buFont typeface="Arial"/>
              <a:buChar char="•"/>
            </a:pPr>
            <a:r>
              <a:rPr lang="en-US" sz="2000">
                <a:ea typeface="+mn-lt"/>
                <a:cs typeface="+mn-lt"/>
              </a:rPr>
              <a:t>Rows: 4424, Columns: 37</a:t>
            </a:r>
            <a:endParaRPr lang="en-US" sz="2000"/>
          </a:p>
          <a:p>
            <a:pPr marL="285750" indent="-285750">
              <a:buFont typeface="Arial"/>
              <a:buChar char="•"/>
            </a:pPr>
            <a:r>
              <a:rPr lang="en-US" sz="2000">
                <a:ea typeface="+mn-lt"/>
                <a:cs typeface="+mn-lt"/>
              </a:rPr>
              <a:t>No missing values.</a:t>
            </a:r>
            <a:endParaRPr lang="en-US" sz="2000"/>
          </a:p>
          <a:p>
            <a:r>
              <a:rPr lang="en-US" sz="2000" b="1">
                <a:ea typeface="+mn-lt"/>
                <a:cs typeface="+mn-lt"/>
              </a:rPr>
              <a:t>Steps Taken:</a:t>
            </a:r>
            <a:endParaRPr lang="en-US" sz="2000"/>
          </a:p>
          <a:p>
            <a:pPr marL="285750" indent="-285750">
              <a:buFont typeface="Arial"/>
              <a:buChar char="•"/>
            </a:pPr>
            <a:r>
              <a:rPr lang="en-US" sz="2000">
                <a:ea typeface="+mn-lt"/>
                <a:cs typeface="+mn-lt"/>
              </a:rPr>
              <a:t>Checked distributions of continuous variables.</a:t>
            </a:r>
            <a:endParaRPr lang="en-US" sz="2000"/>
          </a:p>
          <a:p>
            <a:pPr marL="285750" indent="-285750">
              <a:buFont typeface="Arial"/>
              <a:buChar char="•"/>
            </a:pPr>
            <a:r>
              <a:rPr lang="en-US" sz="2000">
                <a:ea typeface="+mn-lt"/>
                <a:cs typeface="+mn-lt"/>
              </a:rPr>
              <a:t>Removed outliers and highly correlated variables</a:t>
            </a:r>
            <a:endParaRPr lang="en-US" sz="2000"/>
          </a:p>
          <a:p>
            <a:pPr marL="285750" indent="-285750">
              <a:buFont typeface="Arial"/>
              <a:buChar char="•"/>
            </a:pPr>
            <a:r>
              <a:rPr lang="en-US" sz="2000">
                <a:ea typeface="+mn-lt"/>
                <a:cs typeface="+mn-lt"/>
              </a:rPr>
              <a:t>Recoded categorical variables (e.g., Marital Status, Nationality).</a:t>
            </a:r>
            <a:endParaRPr lang="en-US" sz="2000"/>
          </a:p>
          <a:p>
            <a:endParaRPr lang="en-US" sz="2000"/>
          </a:p>
        </p:txBody>
      </p:sp>
      <p:pic>
        <p:nvPicPr>
          <p:cNvPr id="5" name="Picture 4" descr="A graph with lines and dots&#10;&#10;Description automatically generated">
            <a:extLst>
              <a:ext uri="{FF2B5EF4-FFF2-40B4-BE49-F238E27FC236}">
                <a16:creationId xmlns:a16="http://schemas.microsoft.com/office/drawing/2014/main" id="{F2A749F0-CE36-4E92-4935-87E1D8E3A95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03884" y="2828925"/>
            <a:ext cx="2889706" cy="309562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C364596-E9AA-F89F-A71B-F9B5D3265858}"/>
              </a:ext>
            </a:extLst>
          </p:cNvPr>
          <p:cNvSpPr txBox="1"/>
          <p:nvPr/>
        </p:nvSpPr>
        <p:spPr>
          <a:xfrm>
            <a:off x="7439024" y="2457450"/>
            <a:ext cx="3152775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/>
              <a:t>Admission Grade Box Plot</a:t>
            </a:r>
          </a:p>
        </p:txBody>
      </p:sp>
    </p:spTree>
    <p:extLst>
      <p:ext uri="{BB962C8B-B14F-4D97-AF65-F5344CB8AC3E}">
        <p14:creationId xmlns:p14="http://schemas.microsoft.com/office/powerpoint/2010/main" val="142059541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blue and white rectangle with text&#10;&#10;Description automatically generated">
            <a:extLst>
              <a:ext uri="{FF2B5EF4-FFF2-40B4-BE49-F238E27FC236}">
                <a16:creationId xmlns:a16="http://schemas.microsoft.com/office/drawing/2014/main" id="{7DDBCFA2-86E6-C129-3E03-240BB4A8B2B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792" y="1169"/>
            <a:ext cx="12201525" cy="6858000"/>
          </a:xfrm>
          <a:prstGeom prst="rect">
            <a:avLst/>
          </a:prstGeom>
        </p:spPr>
      </p:pic>
      <p:pic>
        <p:nvPicPr>
          <p:cNvPr id="5" name="Content Placeholder 4" descr="A close up of a text&#10;&#10;Description automatically generated">
            <a:extLst>
              <a:ext uri="{FF2B5EF4-FFF2-40B4-BE49-F238E27FC236}">
                <a16:creationId xmlns:a16="http://schemas.microsoft.com/office/drawing/2014/main" id="{CCA4831D-2323-CDFB-CFCC-0E52245EEDA7}"/>
              </a:ext>
            </a:extLst>
          </p:cNvPr>
          <p:cNvPicPr>
            <a:picLocks noGrp="1" noChangeAspect="1"/>
          </p:cNvPicPr>
          <p:nvPr>
            <p:ph sz="half" idx="13"/>
          </p:nvPr>
        </p:nvPicPr>
        <p:blipFill>
          <a:blip r:embed="rId3"/>
          <a:stretch>
            <a:fillRect/>
          </a:stretch>
        </p:blipFill>
        <p:spPr>
          <a:xfrm>
            <a:off x="2960408" y="1565776"/>
            <a:ext cx="6267450" cy="4800600"/>
          </a:xfr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AF339DDD-F5AD-640F-541D-06CFFCBCB4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8756823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1FB2C5-DB17-57A5-F4E2-7C66AEFFDA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4" name="Picture 3" descr="A blue and white rectangle with text&#10;&#10;Description automatically generated">
            <a:extLst>
              <a:ext uri="{FF2B5EF4-FFF2-40B4-BE49-F238E27FC236}">
                <a16:creationId xmlns:a16="http://schemas.microsoft.com/office/drawing/2014/main" id="{10C7EE34-1B7D-4BDA-C6C9-7F37905D252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85192" y="-1183"/>
            <a:ext cx="12262993" cy="6874565"/>
          </a:xfrm>
          <a:prstGeom prst="rect">
            <a:avLst/>
          </a:prstGeom>
        </p:spPr>
      </p:pic>
      <p:pic>
        <p:nvPicPr>
          <p:cNvPr id="6" name="Content Placeholder 5" descr="A diagram of a heatmap&#10;&#10;Description automatically generated">
            <a:extLst>
              <a:ext uri="{FF2B5EF4-FFF2-40B4-BE49-F238E27FC236}">
                <a16:creationId xmlns:a16="http://schemas.microsoft.com/office/drawing/2014/main" id="{18DCE7DD-B0A0-5E98-D6F0-02DCC18ED879}"/>
              </a:ext>
            </a:extLst>
          </p:cNvPr>
          <p:cNvPicPr>
            <a:picLocks noGrp="1" noChangeAspect="1"/>
          </p:cNvPicPr>
          <p:nvPr>
            <p:ph sz="half" idx="13"/>
          </p:nvPr>
        </p:nvPicPr>
        <p:blipFill>
          <a:blip r:embed="rId3"/>
          <a:srcRect t="5072"/>
          <a:stretch/>
        </p:blipFill>
        <p:spPr>
          <a:xfrm>
            <a:off x="1889733" y="1175647"/>
            <a:ext cx="8315502" cy="5225127"/>
          </a:xfrm>
        </p:spPr>
      </p:pic>
    </p:spTree>
    <p:extLst>
      <p:ext uri="{BB962C8B-B14F-4D97-AF65-F5344CB8AC3E}">
        <p14:creationId xmlns:p14="http://schemas.microsoft.com/office/powerpoint/2010/main" val="301961618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white rectangular frame with blue text&#10;&#10;Description automatically generated">
            <a:extLst>
              <a:ext uri="{FF2B5EF4-FFF2-40B4-BE49-F238E27FC236}">
                <a16:creationId xmlns:a16="http://schemas.microsoft.com/office/drawing/2014/main" id="{C9C9373F-20EB-7F8F-672F-3B377836DDC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184"/>
            <a:ext cx="12182534" cy="6855633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A5FD2B-E3E5-1C2B-0151-21F216B14A33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1424204" y="1591790"/>
            <a:ext cx="9335123" cy="3887357"/>
          </a:xfrm>
          <a:noFill/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sz="2400" b="1">
                <a:ea typeface="+mn-lt"/>
                <a:cs typeface="+mn-lt"/>
              </a:rPr>
              <a:t>Categorical Variables:</a:t>
            </a:r>
            <a:endParaRPr lang="en-US" sz="2400"/>
          </a:p>
          <a:p>
            <a:pPr marL="285750" indent="-285750">
              <a:buFont typeface="Arial"/>
              <a:buChar char="•"/>
            </a:pPr>
            <a:r>
              <a:rPr lang="en-US" sz="2400">
                <a:ea typeface="+mn-lt"/>
                <a:cs typeface="+mn-lt"/>
              </a:rPr>
              <a:t>Grouped and labeled variables (e.g., Courses, Application Mode).</a:t>
            </a:r>
            <a:endParaRPr lang="en-US" sz="2400"/>
          </a:p>
          <a:p>
            <a:pPr marL="285750" indent="-285750">
              <a:buFont typeface="Arial"/>
              <a:buChar char="•"/>
            </a:pPr>
            <a:r>
              <a:rPr lang="en-US" sz="2400">
                <a:ea typeface="+mn-lt"/>
                <a:cs typeface="+mn-lt"/>
              </a:rPr>
              <a:t>Converted categorical predictors into dummy variables.</a:t>
            </a:r>
            <a:endParaRPr lang="en-US" sz="2400"/>
          </a:p>
          <a:p>
            <a:r>
              <a:rPr lang="en-US" sz="2400" b="1">
                <a:ea typeface="+mn-lt"/>
                <a:cs typeface="+mn-lt"/>
              </a:rPr>
              <a:t>Continuous Variables:</a:t>
            </a:r>
            <a:endParaRPr lang="en-US" sz="2400"/>
          </a:p>
          <a:p>
            <a:pPr marL="285750" indent="-285750">
              <a:buFont typeface="Arial"/>
              <a:buChar char="•"/>
            </a:pPr>
            <a:r>
              <a:rPr lang="en-US" sz="2400">
                <a:ea typeface="+mn-lt"/>
                <a:cs typeface="+mn-lt"/>
              </a:rPr>
              <a:t>Standardized and grouped into meaningful ranges (e.g., Grades, Age).</a:t>
            </a:r>
            <a:endParaRPr lang="en-US" sz="2400"/>
          </a:p>
          <a:p>
            <a:r>
              <a:rPr lang="en-US" sz="2400" b="1">
                <a:ea typeface="+mn-lt"/>
                <a:cs typeface="+mn-lt"/>
              </a:rPr>
              <a:t>Optimization:</a:t>
            </a:r>
            <a:endParaRPr lang="en-US" sz="2400"/>
          </a:p>
          <a:p>
            <a:pPr marL="285750" indent="-285750">
              <a:buFont typeface="Arial"/>
              <a:buChar char="•"/>
            </a:pPr>
            <a:r>
              <a:rPr lang="en-US" sz="2400">
                <a:ea typeface="+mn-lt"/>
                <a:cs typeface="+mn-lt"/>
              </a:rPr>
              <a:t>Removed low-variance and highly correlated variables.</a:t>
            </a:r>
            <a:endParaRPr lang="en-US" sz="2400"/>
          </a:p>
          <a:p>
            <a:pPr marL="285750" indent="-285750">
              <a:buFont typeface="Arial"/>
              <a:buChar char="•"/>
            </a:pPr>
            <a:r>
              <a:rPr lang="en-US" sz="2400"/>
              <a:t>Removed outliers</a:t>
            </a:r>
          </a:p>
          <a:p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99949328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blue and white rectangle with text&#10;&#10;Description automatically generated">
            <a:extLst>
              <a:ext uri="{FF2B5EF4-FFF2-40B4-BE49-F238E27FC236}">
                <a16:creationId xmlns:a16="http://schemas.microsoft.com/office/drawing/2014/main" id="{6A604A1B-CCE2-1DAE-78D8-99272C2E9F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550"/>
            <a:ext cx="12191999" cy="6855633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A5FD2B-E3E5-1C2B-0151-21F216B14A33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3259749" y="1627584"/>
            <a:ext cx="5672436" cy="4602025"/>
          </a:xfrm>
          <a:noFill/>
        </p:spPr>
        <p:txBody>
          <a:bodyPr vert="horz" lIns="91440" tIns="45720" rIns="91440" bIns="45720" rtlCol="0" anchor="t">
            <a:noAutofit/>
          </a:bodyPr>
          <a:lstStyle/>
          <a:p>
            <a:pPr algn="just"/>
            <a:r>
              <a:rPr lang="en-US" sz="1900" b="1">
                <a:ea typeface="+mn-lt"/>
                <a:cs typeface="+mn-lt"/>
              </a:rPr>
              <a:t>Columns:</a:t>
            </a:r>
            <a:r>
              <a:rPr lang="en-US" sz="1900">
                <a:ea typeface="+mn-lt"/>
                <a:cs typeface="+mn-lt"/>
              </a:rPr>
              <a:t> 85 after preprocessing.</a:t>
            </a:r>
            <a:endParaRPr lang="en-US" sz="1900"/>
          </a:p>
          <a:p>
            <a:pPr algn="just"/>
            <a:r>
              <a:rPr lang="en-US" sz="1900" b="1">
                <a:ea typeface="+mn-lt"/>
                <a:cs typeface="+mn-lt"/>
              </a:rPr>
              <a:t>Rows: </a:t>
            </a:r>
            <a:r>
              <a:rPr lang="en-US" sz="1900">
                <a:ea typeface="+mn-lt"/>
                <a:cs typeface="+mn-lt"/>
              </a:rPr>
              <a:t>4338 after removing outliers</a:t>
            </a:r>
          </a:p>
          <a:p>
            <a:pPr marL="342900" indent="-342900" algn="just">
              <a:buChar char="•"/>
            </a:pPr>
            <a:r>
              <a:rPr lang="en-US" sz="1900">
                <a:ea typeface="+mn-lt"/>
                <a:cs typeface="+mn-lt"/>
              </a:rPr>
              <a:t>Retained only significant predictors by removing:</a:t>
            </a:r>
            <a:endParaRPr lang="en-US" sz="1900"/>
          </a:p>
          <a:p>
            <a:pPr lvl="2" algn="just"/>
            <a:r>
              <a:rPr lang="en-US" sz="1900">
                <a:ea typeface="+mn-lt"/>
                <a:cs typeface="+mn-lt"/>
              </a:rPr>
              <a:t>Low-variance variables.</a:t>
            </a:r>
            <a:endParaRPr lang="en-US" sz="1900"/>
          </a:p>
          <a:p>
            <a:pPr lvl="2" algn="just"/>
            <a:r>
              <a:rPr lang="en-US" sz="1900">
                <a:ea typeface="+mn-lt"/>
                <a:cs typeface="+mn-lt"/>
              </a:rPr>
              <a:t>Highly correlated variables (correlation &gt; 0.9).</a:t>
            </a:r>
            <a:endParaRPr lang="en-US" sz="1900"/>
          </a:p>
          <a:p>
            <a:pPr marL="342900" indent="-342900" algn="just">
              <a:buChar char="•"/>
            </a:pPr>
            <a:r>
              <a:rPr lang="en-US" sz="1900">
                <a:ea typeface="+mn-lt"/>
                <a:cs typeface="+mn-lt"/>
              </a:rPr>
              <a:t>Dummy variables created for categorical features to prepare for analysis.</a:t>
            </a:r>
          </a:p>
          <a:p>
            <a:pPr algn="just"/>
            <a:r>
              <a:rPr lang="en-US" sz="1900" b="1">
                <a:ea typeface="+mn-lt"/>
                <a:cs typeface="+mn-lt"/>
              </a:rPr>
              <a:t>Optimization Goals:</a:t>
            </a:r>
            <a:endParaRPr lang="en-US" sz="1900">
              <a:ea typeface="+mn-lt"/>
              <a:cs typeface="+mn-lt"/>
            </a:endParaRPr>
          </a:p>
          <a:p>
            <a:pPr marL="342900" indent="-342900" algn="just">
              <a:buChar char="•"/>
            </a:pPr>
            <a:r>
              <a:rPr lang="en-US" sz="1900">
                <a:ea typeface="+mn-lt"/>
                <a:cs typeface="+mn-lt"/>
              </a:rPr>
              <a:t>Ensure data is free from redundancies.</a:t>
            </a:r>
          </a:p>
          <a:p>
            <a:pPr marL="342900" indent="-342900" algn="just">
              <a:buChar char="•"/>
            </a:pPr>
            <a:r>
              <a:rPr lang="en-US" sz="1900">
                <a:ea typeface="+mn-lt"/>
                <a:cs typeface="+mn-lt"/>
              </a:rPr>
              <a:t>Improve model interpretability and efficiency.</a:t>
            </a:r>
          </a:p>
          <a:p>
            <a:pPr marL="342900" indent="-342900" algn="just">
              <a:buChar char="•"/>
            </a:pPr>
            <a:r>
              <a:rPr lang="en-US" sz="1900"/>
              <a:t>Further optimization (as needed) when exploring models</a:t>
            </a:r>
          </a:p>
        </p:txBody>
      </p:sp>
    </p:spTree>
    <p:extLst>
      <p:ext uri="{BB962C8B-B14F-4D97-AF65-F5344CB8AC3E}">
        <p14:creationId xmlns:p14="http://schemas.microsoft.com/office/powerpoint/2010/main" val="308738575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hite rectangular frame with blue text&#10;&#10;Description automatically generated">
            <a:extLst>
              <a:ext uri="{FF2B5EF4-FFF2-40B4-BE49-F238E27FC236}">
                <a16:creationId xmlns:a16="http://schemas.microsoft.com/office/drawing/2014/main" id="{CAB3C07C-1255-94DA-8E92-700DFBDD0C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72176"/>
            <a:ext cx="12191998" cy="700235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D1FB2C5-DB17-57A5-F4E2-7C66AEFFDA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5" name="Content Placeholder 4" descr="A graph of a heatmap&#10;&#10;Description automatically generated">
            <a:extLst>
              <a:ext uri="{FF2B5EF4-FFF2-40B4-BE49-F238E27FC236}">
                <a16:creationId xmlns:a16="http://schemas.microsoft.com/office/drawing/2014/main" id="{F4D9CE51-61C0-3108-7CDF-D1EFF40C1081}"/>
              </a:ext>
            </a:extLst>
          </p:cNvPr>
          <p:cNvPicPr>
            <a:picLocks noGrp="1" noChangeAspect="1"/>
          </p:cNvPicPr>
          <p:nvPr>
            <p:ph sz="half" idx="13"/>
          </p:nvPr>
        </p:nvPicPr>
        <p:blipFill>
          <a:blip r:embed="rId3"/>
          <a:srcRect t="4601" r="-64"/>
          <a:stretch/>
        </p:blipFill>
        <p:spPr>
          <a:xfrm>
            <a:off x="2494425" y="1177942"/>
            <a:ext cx="7197587" cy="5380375"/>
          </a:xfrm>
        </p:spPr>
      </p:pic>
    </p:spTree>
    <p:extLst>
      <p:ext uri="{BB962C8B-B14F-4D97-AF65-F5344CB8AC3E}">
        <p14:creationId xmlns:p14="http://schemas.microsoft.com/office/powerpoint/2010/main" val="70790805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D842265-4FF9-1B44-FEB5-821C943C6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6937" y="879674"/>
            <a:ext cx="5377406" cy="2550005"/>
          </a:xfrm>
        </p:spPr>
        <p:txBody>
          <a:bodyPr/>
          <a:lstStyle/>
          <a:p>
            <a:r>
              <a:rPr lang="en-US"/>
              <a:t>Modeling and Analysi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B45969B-1704-F63D-6589-8EFA988FBC3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417638" y="3576900"/>
            <a:ext cx="4126635" cy="2233613"/>
          </a:xfrm>
        </p:spPr>
        <p:txBody>
          <a:bodyPr/>
          <a:lstStyle/>
          <a:p>
            <a:r>
              <a:rPr lang="en-US"/>
              <a:t>Enhancing your presentation</a:t>
            </a:r>
          </a:p>
        </p:txBody>
      </p:sp>
      <p:pic>
        <p:nvPicPr>
          <p:cNvPr id="2" name="Picture 1" descr="A blue background with text overlay&#10;&#10;Description automatically generated">
            <a:extLst>
              <a:ext uri="{FF2B5EF4-FFF2-40B4-BE49-F238E27FC236}">
                <a16:creationId xmlns:a16="http://schemas.microsoft.com/office/drawing/2014/main" id="{A0B71C82-D2F6-190E-86B9-7C636D234F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640"/>
            <a:ext cx="12192000" cy="6855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226805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white and blue rectangular sign&#10;&#10;Description automatically generated">
            <a:extLst>
              <a:ext uri="{FF2B5EF4-FFF2-40B4-BE49-F238E27FC236}">
                <a16:creationId xmlns:a16="http://schemas.microsoft.com/office/drawing/2014/main" id="{C3C77F64-CCA4-018A-FF4A-D2BB8C4A78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2352"/>
            <a:ext cx="12187296" cy="6858000"/>
          </a:xfrm>
          <a:prstGeom prst="rect">
            <a:avLst/>
          </a:prstGeo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3302BFD-960F-CBB3-E984-CDC12813A10C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1404232" y="2768717"/>
            <a:ext cx="9383712" cy="1825625"/>
          </a:xfrm>
          <a:noFill/>
        </p:spPr>
        <p:txBody>
          <a:bodyPr vert="horz" lIns="91440" tIns="45720" rIns="91440" bIns="45720" rtlCol="0" anchor="t">
            <a:normAutofit/>
          </a:bodyPr>
          <a:lstStyle/>
          <a:p>
            <a:pPr algn="ctr"/>
            <a:r>
              <a:rPr lang="en-US" sz="2000" b="1"/>
              <a:t>Total 48 variables, 35 significant and 13 insignificant</a:t>
            </a:r>
          </a:p>
        </p:txBody>
      </p:sp>
      <p:pic>
        <p:nvPicPr>
          <p:cNvPr id="13" name="Content Placeholder 12" descr="A screenshot of a computer&#10;&#10;Description automatically generated">
            <a:extLst>
              <a:ext uri="{FF2B5EF4-FFF2-40B4-BE49-F238E27FC236}">
                <a16:creationId xmlns:a16="http://schemas.microsoft.com/office/drawing/2014/main" id="{53D953D9-A78A-8FC0-2CC7-F20ACF386DFA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3"/>
          <a:stretch>
            <a:fillRect/>
          </a:stretch>
        </p:blipFill>
        <p:spPr>
          <a:xfrm>
            <a:off x="613298" y="3285417"/>
            <a:ext cx="10962891" cy="1873487"/>
          </a:xfrm>
        </p:spPr>
      </p:pic>
    </p:spTree>
    <p:extLst>
      <p:ext uri="{BB962C8B-B14F-4D97-AF65-F5344CB8AC3E}">
        <p14:creationId xmlns:p14="http://schemas.microsoft.com/office/powerpoint/2010/main" val="305408670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hite and blue rectangular sign&#10;&#10;Description automatically generated">
            <a:extLst>
              <a:ext uri="{FF2B5EF4-FFF2-40B4-BE49-F238E27FC236}">
                <a16:creationId xmlns:a16="http://schemas.microsoft.com/office/drawing/2014/main" id="{800B9B2B-506C-5E9D-E273-F20D5B6075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08" y="2352"/>
            <a:ext cx="12201406" cy="6862703"/>
          </a:xfrm>
          <a:prstGeom prst="rect">
            <a:avLst/>
          </a:prstGeom>
        </p:spPr>
      </p:pic>
      <p:pic>
        <p:nvPicPr>
          <p:cNvPr id="6" name="Content Placeholder 5" descr="A table of numbers with black text&#10;&#10;Description automatically generated">
            <a:extLst>
              <a:ext uri="{FF2B5EF4-FFF2-40B4-BE49-F238E27FC236}">
                <a16:creationId xmlns:a16="http://schemas.microsoft.com/office/drawing/2014/main" id="{7451A745-B30C-A3B7-0F88-265EBA820A0F}"/>
              </a:ext>
            </a:extLst>
          </p:cNvPr>
          <p:cNvPicPr>
            <a:picLocks noGrp="1" noChangeAspect="1"/>
          </p:cNvPicPr>
          <p:nvPr>
            <p:ph sz="half" idx="13"/>
          </p:nvPr>
        </p:nvPicPr>
        <p:blipFill>
          <a:blip r:embed="rId3"/>
          <a:stretch>
            <a:fillRect/>
          </a:stretch>
        </p:blipFill>
        <p:spPr>
          <a:xfrm>
            <a:off x="1220809" y="2325629"/>
            <a:ext cx="7442922" cy="3654425"/>
          </a:xfrm>
          <a:noFill/>
        </p:spPr>
      </p:pic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A502F82-98AF-1C8B-7EFA-422A4EAE232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860302" y="2069048"/>
            <a:ext cx="2445189" cy="3653350"/>
          </a:xfrm>
        </p:spPr>
        <p:txBody>
          <a:bodyPr vert="horz" lIns="91440" tIns="45720" rIns="91440" bIns="45720" rtlCol="0" anchor="t">
            <a:noAutofit/>
          </a:bodyPr>
          <a:lstStyle/>
          <a:p>
            <a:endParaRPr lang="en-US" sz="1500">
              <a:ea typeface="+mn-lt"/>
              <a:cs typeface="+mn-lt"/>
            </a:endParaRPr>
          </a:p>
          <a:p>
            <a:pPr marL="285750" indent="-285750">
              <a:buFont typeface="Arial"/>
              <a:buChar char="•"/>
            </a:pPr>
            <a:r>
              <a:rPr lang="en-US" sz="1500" b="1">
                <a:ea typeface="+mn-lt"/>
                <a:cs typeface="+mn-lt"/>
              </a:rPr>
              <a:t>At higher cutoff values (0.4, 0.5)</a:t>
            </a:r>
            <a:r>
              <a:rPr lang="en-US" sz="1500">
                <a:ea typeface="+mn-lt"/>
                <a:cs typeface="+mn-lt"/>
              </a:rPr>
              <a:t>: correctly identify students who will not drop out (true negatives)</a:t>
            </a:r>
          </a:p>
          <a:p>
            <a:pPr marL="285750" indent="-285750">
              <a:buFont typeface="Arial,Sans-Serif"/>
              <a:buChar char="•"/>
            </a:pPr>
            <a:r>
              <a:rPr lang="en-US" sz="1500" b="1">
                <a:latin typeface="Arial"/>
                <a:ea typeface="+mn-lt"/>
                <a:cs typeface="Arial"/>
              </a:rPr>
              <a:t>At lower cutoff values (0.1, 0.2, 0.3)</a:t>
            </a:r>
            <a:r>
              <a:rPr lang="en-US" sz="1500">
                <a:latin typeface="Arial"/>
                <a:ea typeface="+mn-lt"/>
                <a:cs typeface="Arial"/>
              </a:rPr>
              <a:t>: correctly identify students who will drop out (true positives)</a:t>
            </a:r>
          </a:p>
          <a:p>
            <a:pPr marL="285750" indent="-285750">
              <a:buFont typeface="Arial"/>
              <a:buChar char="•"/>
            </a:pPr>
            <a:r>
              <a:rPr lang="en-US" sz="1500">
                <a:ea typeface="+mn-lt"/>
                <a:cs typeface="+mn-lt"/>
              </a:rPr>
              <a:t> Accuracy also decreases </a:t>
            </a:r>
            <a:endParaRPr lang="en-US" sz="1500"/>
          </a:p>
        </p:txBody>
      </p:sp>
    </p:spTree>
    <p:extLst>
      <p:ext uri="{BB962C8B-B14F-4D97-AF65-F5344CB8AC3E}">
        <p14:creationId xmlns:p14="http://schemas.microsoft.com/office/powerpoint/2010/main" val="31936446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C2181D-911C-1343-7267-E35AC86CCA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3038" y="1457865"/>
            <a:ext cx="3200400" cy="4580626"/>
          </a:xfrm>
          <a:noFill/>
        </p:spPr>
        <p:txBody>
          <a:bodyPr anchor="t">
            <a:noAutofit/>
          </a:bodyPr>
          <a:lstStyle/>
          <a:p>
            <a:r>
              <a:rPr lang="en-US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EA8735-F1DC-1DE6-0A38-429B2F660F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0" y="0"/>
            <a:ext cx="6187439" cy="6004560"/>
          </a:xfrm>
          <a:noFill/>
        </p:spPr>
        <p:txBody>
          <a:bodyPr anchor="t">
            <a:noAutofit/>
          </a:bodyPr>
          <a:lstStyle/>
          <a:p>
            <a:pPr>
              <a:lnSpc>
                <a:spcPct val="2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700" b="1"/>
              <a:t>I. Intro</a:t>
            </a:r>
          </a:p>
          <a:p>
            <a:pPr marL="1028700" lvl="1" indent="-34290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</a:pPr>
            <a:r>
              <a:rPr lang="en-US" sz="1700"/>
              <a:t>Background</a:t>
            </a:r>
          </a:p>
          <a:p>
            <a:pPr marL="1028700" lvl="1" indent="-34290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</a:pPr>
            <a:r>
              <a:rPr lang="en-US" sz="1700"/>
              <a:t>Problem</a:t>
            </a:r>
          </a:p>
          <a:p>
            <a:pPr marL="1028700" lvl="1" indent="-34290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</a:pPr>
            <a:r>
              <a:rPr lang="en-US" sz="1700"/>
              <a:t>Data description</a:t>
            </a:r>
          </a:p>
          <a:p>
            <a:pPr>
              <a:lnSpc>
                <a:spcPct val="2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700" b="1"/>
              <a:t>II. Data Preprocessing</a:t>
            </a:r>
          </a:p>
          <a:p>
            <a:pPr marL="914400" lvl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</a:pPr>
            <a:r>
              <a:rPr lang="en-US" sz="1700"/>
              <a:t>Data Cleaning</a:t>
            </a:r>
          </a:p>
          <a:p>
            <a:pPr marL="914400" lvl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</a:pPr>
            <a:r>
              <a:rPr lang="en-US" sz="1700"/>
              <a:t>Data Partitioning</a:t>
            </a:r>
          </a:p>
          <a:p>
            <a:pPr>
              <a:lnSpc>
                <a:spcPct val="2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700" b="1"/>
              <a:t>III. Modelling and Analysis</a:t>
            </a:r>
          </a:p>
          <a:p>
            <a:pPr marL="914400" lvl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</a:pPr>
            <a:r>
              <a:rPr lang="en-US" sz="1700"/>
              <a:t>Models and Analysis</a:t>
            </a:r>
          </a:p>
          <a:p>
            <a:pPr marL="914400" lvl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</a:pPr>
            <a:r>
              <a:rPr lang="en-US" sz="1700"/>
              <a:t>Performance Comparisons</a:t>
            </a:r>
          </a:p>
          <a:p>
            <a:pPr>
              <a:lnSpc>
                <a:spcPct val="2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700" b="1"/>
              <a:t>IV. Conclusion</a:t>
            </a:r>
          </a:p>
          <a:p>
            <a:pPr marL="914400" lvl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</a:pPr>
            <a:r>
              <a:rPr lang="en-US" sz="1700"/>
              <a:t>Takeaways</a:t>
            </a:r>
          </a:p>
          <a:p>
            <a:pPr marL="914400" lvl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</a:pPr>
            <a:r>
              <a:rPr lang="en-US" sz="1700"/>
              <a:t>Citations</a:t>
            </a:r>
          </a:p>
        </p:txBody>
      </p:sp>
      <p:pic>
        <p:nvPicPr>
          <p:cNvPr id="4" name="Picture 3" descr="A diagram of a agenda&#10;&#10;Description automatically generated">
            <a:extLst>
              <a:ext uri="{FF2B5EF4-FFF2-40B4-BE49-F238E27FC236}">
                <a16:creationId xmlns:a16="http://schemas.microsoft.com/office/drawing/2014/main" id="{E108B8EF-6ACD-F244-7240-CB66554F40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2352"/>
            <a:ext cx="1218729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081760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white rectangular frame with blue text&#10;&#10;Description automatically generated">
            <a:extLst>
              <a:ext uri="{FF2B5EF4-FFF2-40B4-BE49-F238E27FC236}">
                <a16:creationId xmlns:a16="http://schemas.microsoft.com/office/drawing/2014/main" id="{0E535550-2519-CAD6-0742-762BC99EF5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183"/>
            <a:ext cx="12191999" cy="6860366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CE640F-7F5A-BDB7-205D-765FA80B679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380768" y="2289710"/>
            <a:ext cx="9436764" cy="3653350"/>
          </a:xfrm>
          <a:noFill/>
        </p:spPr>
        <p:txBody>
          <a:bodyPr vert="horz" lIns="91440" tIns="45720" rIns="91440" bIns="45720" rtlCol="0" anchor="t">
            <a:normAutofit/>
          </a:bodyPr>
          <a:lstStyle/>
          <a:p>
            <a:pPr algn="ctr"/>
            <a:r>
              <a:rPr lang="en-US" b="1"/>
              <a:t>Variable used</a:t>
            </a:r>
            <a:r>
              <a:rPr lang="en-US"/>
              <a:t>: all variables from cleaned data</a:t>
            </a:r>
          </a:p>
          <a:p>
            <a:pPr algn="ctr"/>
            <a:r>
              <a:rPr lang="en-US"/>
              <a:t>Best K chosen from k with lowest error rate on </a:t>
            </a:r>
            <a:r>
              <a:rPr lang="en-US" b="1"/>
              <a:t>validation</a:t>
            </a:r>
            <a:r>
              <a:rPr lang="en-US"/>
              <a:t> data</a:t>
            </a:r>
          </a:p>
          <a:p>
            <a:pPr algn="ctr"/>
            <a:endParaRPr lang="en-US"/>
          </a:p>
        </p:txBody>
      </p:sp>
      <p:pic>
        <p:nvPicPr>
          <p:cNvPr id="5" name="Content Placeholder 4" descr="A number and numbers on a white background&#10;&#10;Description automatically generated">
            <a:extLst>
              <a:ext uri="{FF2B5EF4-FFF2-40B4-BE49-F238E27FC236}">
                <a16:creationId xmlns:a16="http://schemas.microsoft.com/office/drawing/2014/main" id="{EC6E921B-4BFD-44B6-B8AA-32AA93D52084}"/>
              </a:ext>
            </a:extLst>
          </p:cNvPr>
          <p:cNvPicPr>
            <a:picLocks noGrp="1" noChangeAspect="1"/>
          </p:cNvPicPr>
          <p:nvPr>
            <p:ph sz="half" idx="13"/>
          </p:nvPr>
        </p:nvPicPr>
        <p:blipFill>
          <a:blip r:embed="rId3"/>
          <a:stretch>
            <a:fillRect/>
          </a:stretch>
        </p:blipFill>
        <p:spPr>
          <a:xfrm>
            <a:off x="792361" y="3426540"/>
            <a:ext cx="10607171" cy="2520091"/>
          </a:xfrm>
          <a:noFill/>
        </p:spPr>
      </p:pic>
    </p:spTree>
    <p:extLst>
      <p:ext uri="{BB962C8B-B14F-4D97-AF65-F5344CB8AC3E}">
        <p14:creationId xmlns:p14="http://schemas.microsoft.com/office/powerpoint/2010/main" val="66318289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hite rectangular frame with blue text&#10;&#10;Description automatically generated">
            <a:extLst>
              <a:ext uri="{FF2B5EF4-FFF2-40B4-BE49-F238E27FC236}">
                <a16:creationId xmlns:a16="http://schemas.microsoft.com/office/drawing/2014/main" id="{B0147277-8615-B8B9-3F79-696BFE1FDA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550"/>
            <a:ext cx="12191999" cy="6855633"/>
          </a:xfrm>
          <a:prstGeom prst="rect">
            <a:avLst/>
          </a:prstGeom>
        </p:spPr>
      </p:pic>
      <p:pic>
        <p:nvPicPr>
          <p:cNvPr id="5" name="Content Placeholder 4" descr="A table with text and numbers&#10;&#10;Description automatically generated">
            <a:extLst>
              <a:ext uri="{FF2B5EF4-FFF2-40B4-BE49-F238E27FC236}">
                <a16:creationId xmlns:a16="http://schemas.microsoft.com/office/drawing/2014/main" id="{70A797EC-B211-50B9-4D05-A2E838F203FE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3"/>
          <a:srcRect r="34066"/>
          <a:stretch/>
        </p:blipFill>
        <p:spPr>
          <a:xfrm>
            <a:off x="798797" y="1930825"/>
            <a:ext cx="4889668" cy="4440576"/>
          </a:xfr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0D4176-7766-ED3A-4BEB-AD358FD4CA65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418980" y="2314736"/>
            <a:ext cx="4592631" cy="3666307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b="1" dirty="0"/>
              <a:t>Lower cutoffs – higher sensitivity: </a:t>
            </a:r>
            <a:endParaRPr lang="en-US" dirty="0">
              <a:ea typeface="+mn-lt"/>
              <a:cs typeface="+mn-lt"/>
            </a:endParaRPr>
          </a:p>
          <a:p>
            <a:pPr marL="285750" indent="-285750">
              <a:buChar char="•"/>
            </a:pPr>
            <a:r>
              <a:rPr lang="en-US" dirty="0">
                <a:ea typeface="+mn-lt"/>
                <a:cs typeface="+mn-lt"/>
              </a:rPr>
              <a:t>correctly identify students who will drop out (true positives)</a:t>
            </a:r>
            <a:endParaRPr lang="en-US" dirty="0"/>
          </a:p>
          <a:p>
            <a:r>
              <a:rPr lang="en-US" b="1" dirty="0"/>
              <a:t>Higher cutoffs – higher </a:t>
            </a:r>
            <a:r>
              <a:rPr lang="en-US" b="1" dirty="0" err="1"/>
              <a:t>specifity</a:t>
            </a:r>
            <a:r>
              <a:rPr lang="en-US" b="1" dirty="0"/>
              <a:t>:</a:t>
            </a:r>
            <a:r>
              <a:rPr lang="en-US" b="1" dirty="0">
                <a:ea typeface="+mn-lt"/>
                <a:cs typeface="+mn-lt"/>
              </a:rPr>
              <a:t> </a:t>
            </a:r>
          </a:p>
          <a:p>
            <a:pPr marL="285750" indent="-285750">
              <a:buChar char="•"/>
            </a:pPr>
            <a:r>
              <a:rPr lang="en-US" dirty="0">
                <a:ea typeface="+mn-lt"/>
                <a:cs typeface="+mn-lt"/>
              </a:rPr>
              <a:t>correctly identify students who will not drop out (true negatives)</a:t>
            </a:r>
            <a:endParaRPr lang="en-US" dirty="0"/>
          </a:p>
          <a:p>
            <a:endParaRPr lang="en-US">
              <a:ea typeface="+mn-lt"/>
              <a:cs typeface="+mn-lt"/>
            </a:endParaRPr>
          </a:p>
          <a:p>
            <a:r>
              <a:rPr lang="en-US" b="1" dirty="0">
                <a:ea typeface="+mn-lt"/>
                <a:cs typeface="+mn-lt"/>
              </a:rPr>
              <a:t>For student dropout prediction, it is generally more important to have higher sensitivity because preventing Dropouts is the priority =&gt; choose cutoff 0.1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22156820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and white rectangle with text&#10;&#10;Description automatically generated">
            <a:extLst>
              <a:ext uri="{FF2B5EF4-FFF2-40B4-BE49-F238E27FC236}">
                <a16:creationId xmlns:a16="http://schemas.microsoft.com/office/drawing/2014/main" id="{4D6ABBA5-6316-AB30-9DEB-E703C482CB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2071" y="-355"/>
            <a:ext cx="12192000" cy="6858000"/>
          </a:xfrm>
          <a:prstGeom prst="rect">
            <a:avLst/>
          </a:prstGeom>
        </p:spPr>
      </p:pic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ADD30CF4-3D48-BA13-E3EC-B61193279C93}"/>
              </a:ext>
            </a:extLst>
          </p:cNvPr>
          <p:cNvPicPr>
            <a:picLocks noGrp="1" noChangeAspect="1"/>
          </p:cNvPicPr>
          <p:nvPr>
            <p:ph sz="half" idx="13"/>
          </p:nvPr>
        </p:nvPicPr>
        <p:blipFill>
          <a:blip r:embed="rId3"/>
          <a:stretch>
            <a:fillRect/>
          </a:stretch>
        </p:blipFill>
        <p:spPr>
          <a:xfrm>
            <a:off x="6238610" y="1951753"/>
            <a:ext cx="4815418" cy="2324788"/>
          </a:xfrm>
          <a:noFill/>
        </p:spPr>
      </p:pic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4805482F-B930-B54A-36F5-253E6F931541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4"/>
          <a:stretch>
            <a:fillRect/>
          </a:stretch>
        </p:blipFill>
        <p:spPr>
          <a:xfrm>
            <a:off x="948127" y="1951929"/>
            <a:ext cx="4529667" cy="2324786"/>
          </a:xfr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8BD787A-1B71-9329-6847-30DB84ACA123}"/>
              </a:ext>
            </a:extLst>
          </p:cNvPr>
          <p:cNvSpPr txBox="1"/>
          <p:nvPr/>
        </p:nvSpPr>
        <p:spPr>
          <a:xfrm>
            <a:off x="1628774" y="4461580"/>
            <a:ext cx="3158770" cy="147732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/>
              <a:t>Minimum Error Tree has more splitting because it gives precedence to all variable data but can lead to overfitting.</a:t>
            </a:r>
          </a:p>
          <a:p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C4713CC-6B84-65EB-739A-CD5C071987E8}"/>
              </a:ext>
            </a:extLst>
          </p:cNvPr>
          <p:cNvSpPr txBox="1"/>
          <p:nvPr/>
        </p:nvSpPr>
        <p:spPr>
          <a:xfrm>
            <a:off x="6824133" y="4277077"/>
            <a:ext cx="3657600" cy="147732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ea typeface="+mn-lt"/>
                <a:cs typeface="+mn-lt"/>
              </a:rPr>
              <a:t>Best Pruned Tree sacrifices granularity to preserve flexibility of model by giving less precedence to insignificant variables resulting in less nodes.</a:t>
            </a:r>
          </a:p>
        </p:txBody>
      </p:sp>
    </p:spTree>
    <p:extLst>
      <p:ext uri="{BB962C8B-B14F-4D97-AF65-F5344CB8AC3E}">
        <p14:creationId xmlns:p14="http://schemas.microsoft.com/office/powerpoint/2010/main" val="195843215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8F145301-B696-A780-BBFC-1C3F2B088E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15" y="3372"/>
            <a:ext cx="12192000" cy="6858000"/>
          </a:xfrm>
          <a:prstGeom prst="rect">
            <a:avLst/>
          </a:prstGeom>
        </p:spPr>
      </p:pic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0E589AE2-2289-FA9B-37F1-2FD08196DE2B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3"/>
          <a:stretch>
            <a:fillRect/>
          </a:stretch>
        </p:blipFill>
        <p:spPr>
          <a:xfrm>
            <a:off x="1463963" y="2061400"/>
            <a:ext cx="4180620" cy="4022485"/>
          </a:xfrm>
          <a:noFill/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3302BFD-960F-CBB3-E984-CDC12813A10C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094413" y="2251075"/>
            <a:ext cx="4583112" cy="3654425"/>
          </a:xfrm>
          <a:noFill/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Our CART models provided a lower sensitivity rate but a higher specificity rate indicating more success at identifying negative cases</a:t>
            </a:r>
          </a:p>
          <a:p>
            <a:endParaRPr lang="en-US"/>
          </a:p>
          <a:p>
            <a:r>
              <a:rPr lang="en-US"/>
              <a:t>Having different cut off levels did not have significant impact on metrics</a:t>
            </a:r>
          </a:p>
          <a:p>
            <a:endParaRPr lang="en-US"/>
          </a:p>
          <a:p>
            <a:r>
              <a:rPr lang="en-US"/>
              <a:t>Based on our desire to identify students more likely to drop out using BPT is better model because it responds better to new data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853427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hand holding a light bulb&#10;&#10;Description automatically generated">
            <a:extLst>
              <a:ext uri="{FF2B5EF4-FFF2-40B4-BE49-F238E27FC236}">
                <a16:creationId xmlns:a16="http://schemas.microsoft.com/office/drawing/2014/main" id="{392C81E6-D6C6-823B-3883-6AA291B0FA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303" y="-182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148855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group of light bulbs with one light bulb from them&#10;&#10;Description automatically generated">
            <a:extLst>
              <a:ext uri="{FF2B5EF4-FFF2-40B4-BE49-F238E27FC236}">
                <a16:creationId xmlns:a16="http://schemas.microsoft.com/office/drawing/2014/main" id="{77A52E80-A532-A219-496E-1549DD7E96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169"/>
            <a:ext cx="12187325" cy="6855662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948542-FCE1-3AE6-C6C9-17975609DF70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7333936" y="2939588"/>
            <a:ext cx="4597172" cy="3541853"/>
          </a:xfrm>
          <a:noFill/>
        </p:spPr>
        <p:txBody>
          <a:bodyPr vert="horz" lIns="91440" tIns="45720" rIns="91440" bIns="45720" rtlCol="0" anchor="t">
            <a:normAutofit/>
          </a:bodyPr>
          <a:lstStyle/>
          <a:p>
            <a:pPr marL="0" lvl="1" indent="0">
              <a:buNone/>
            </a:pPr>
            <a:r>
              <a:rPr lang="en-US">
                <a:ea typeface="+mn-lt"/>
                <a:cs typeface="+mn-lt"/>
              </a:rPr>
              <a:t>Predicting student dropouts using classification methods (such as logistic regression, </a:t>
            </a:r>
            <a:r>
              <a:rPr lang="en-US" err="1">
                <a:ea typeface="+mn-lt"/>
                <a:cs typeface="+mn-lt"/>
              </a:rPr>
              <a:t>kNN</a:t>
            </a:r>
            <a:r>
              <a:rPr lang="en-US">
                <a:ea typeface="+mn-lt"/>
                <a:cs typeface="+mn-lt"/>
              </a:rPr>
              <a:t> classifications, and decision trees) can offer valuable insights into the factors contributing to student dropout: </a:t>
            </a:r>
          </a:p>
          <a:p>
            <a:pPr lvl="1"/>
            <a:r>
              <a:rPr lang="en-US">
                <a:ea typeface="+mn-lt"/>
                <a:cs typeface="+mn-lt"/>
              </a:rPr>
              <a:t>Identifying Key Predictors of Student Dropout</a:t>
            </a:r>
            <a:endParaRPr lang="en-US"/>
          </a:p>
          <a:p>
            <a:pPr lvl="1"/>
            <a:r>
              <a:rPr lang="en-US">
                <a:ea typeface="+mn-lt"/>
                <a:cs typeface="+mn-lt"/>
              </a:rPr>
              <a:t>Understanding Patterns and Relationships</a:t>
            </a:r>
          </a:p>
          <a:p>
            <a:pPr lvl="1"/>
            <a:r>
              <a:rPr lang="en-US">
                <a:ea typeface="+mn-lt"/>
                <a:cs typeface="+mn-lt"/>
              </a:rPr>
              <a:t>Improving Student Retention Strategies</a:t>
            </a:r>
          </a:p>
        </p:txBody>
      </p:sp>
    </p:spTree>
    <p:extLst>
      <p:ext uri="{BB962C8B-B14F-4D97-AF65-F5344CB8AC3E}">
        <p14:creationId xmlns:p14="http://schemas.microsoft.com/office/powerpoint/2010/main" val="199424696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 descr="A graphic of a science lab&#10;&#10;Description automatically generated">
            <a:extLst>
              <a:ext uri="{FF2B5EF4-FFF2-40B4-BE49-F238E27FC236}">
                <a16:creationId xmlns:a16="http://schemas.microsoft.com/office/drawing/2014/main" id="{5958ED53-A406-3556-EA73-307867315D53}"/>
              </a:ext>
            </a:extLst>
          </p:cNvPr>
          <p:cNvPicPr>
            <a:picLocks noGrp="1" noChangeAspect="1"/>
          </p:cNvPicPr>
          <p:nvPr>
            <p:ph sz="half" idx="14"/>
          </p:nvPr>
        </p:nvPicPr>
        <p:blipFill>
          <a:blip r:embed="rId2"/>
          <a:stretch>
            <a:fillRect/>
          </a:stretch>
        </p:blipFill>
        <p:spPr>
          <a:xfrm>
            <a:off x="1" y="-1088"/>
            <a:ext cx="12192000" cy="6858000"/>
          </a:xfrm>
        </p:spPr>
      </p:pic>
    </p:spTree>
    <p:extLst>
      <p:ext uri="{BB962C8B-B14F-4D97-AF65-F5344CB8AC3E}">
        <p14:creationId xmlns:p14="http://schemas.microsoft.com/office/powerpoint/2010/main" val="255997389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group of people in a map&#10;&#10;Description automatically generated">
            <a:extLst>
              <a:ext uri="{FF2B5EF4-FFF2-40B4-BE49-F238E27FC236}">
                <a16:creationId xmlns:a16="http://schemas.microsoft.com/office/drawing/2014/main" id="{BA986A8C-F283-BCC9-55A5-2DE2A522B2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69"/>
            <a:ext cx="12191999" cy="6855662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948542-FCE1-3AE6-C6C9-17975609DF70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563734" y="2503675"/>
            <a:ext cx="5627689" cy="3541853"/>
          </a:xfrm>
          <a:noFill/>
        </p:spPr>
        <p:txBody>
          <a:bodyPr vert="horz" lIns="91440" tIns="45720" rIns="91440" bIns="45720" rtlCol="0" anchor="t">
            <a:normAutofit lnSpcReduction="10000"/>
          </a:bodyPr>
          <a:lstStyle/>
          <a:p>
            <a:r>
              <a:rPr lang="en-US" sz="2400">
                <a:solidFill>
                  <a:schemeClr val="bg1"/>
                </a:solidFill>
                <a:ea typeface="+mn-lt"/>
                <a:cs typeface="+mn-lt"/>
              </a:rPr>
              <a:t>Key factors in our analysis that are consistent with other industry findings:</a:t>
            </a:r>
            <a:endParaRPr lang="en-US" sz="2400">
              <a:solidFill>
                <a:schemeClr val="bg1"/>
              </a:solidFill>
            </a:endParaRPr>
          </a:p>
          <a:p>
            <a:pPr lvl="1"/>
            <a:r>
              <a:rPr lang="en-US" sz="2400">
                <a:solidFill>
                  <a:schemeClr val="bg1"/>
                </a:solidFill>
                <a:ea typeface="+mn-lt"/>
                <a:cs typeface="+mn-lt"/>
              </a:rPr>
              <a:t>Age</a:t>
            </a:r>
          </a:p>
          <a:p>
            <a:pPr lvl="1"/>
            <a:r>
              <a:rPr lang="en-US" sz="2400">
                <a:solidFill>
                  <a:schemeClr val="bg1"/>
                </a:solidFill>
                <a:ea typeface="+mn-lt"/>
                <a:cs typeface="+mn-lt"/>
              </a:rPr>
              <a:t>Gender</a:t>
            </a:r>
          </a:p>
          <a:p>
            <a:pPr lvl="1"/>
            <a:r>
              <a:rPr lang="en-US" sz="2400">
                <a:solidFill>
                  <a:schemeClr val="bg1"/>
                </a:solidFill>
                <a:ea typeface="+mn-lt"/>
                <a:cs typeface="+mn-lt"/>
              </a:rPr>
              <a:t>Parental Education and Occupation </a:t>
            </a:r>
            <a:endParaRPr lang="en-US" sz="2400">
              <a:solidFill>
                <a:schemeClr val="bg1"/>
              </a:solidFill>
            </a:endParaRPr>
          </a:p>
          <a:p>
            <a:pPr lvl="1"/>
            <a:r>
              <a:rPr lang="en-US" sz="2400">
                <a:solidFill>
                  <a:schemeClr val="bg1"/>
                </a:solidFill>
              </a:rPr>
              <a:t>Work and Family Responsibilities</a:t>
            </a:r>
          </a:p>
          <a:p>
            <a:pPr lvl="1"/>
            <a:r>
              <a:rPr lang="en-US" sz="2400">
                <a:solidFill>
                  <a:schemeClr val="bg1"/>
                </a:solidFill>
              </a:rPr>
              <a:t>Credit Accumulation </a:t>
            </a:r>
          </a:p>
          <a:p>
            <a:pPr lvl="1"/>
            <a:r>
              <a:rPr lang="en-US" sz="2400">
                <a:solidFill>
                  <a:schemeClr val="bg1"/>
                </a:solidFill>
              </a:rPr>
              <a:t>Course Load</a:t>
            </a:r>
          </a:p>
          <a:p>
            <a:pPr marL="0" lvl="1" indent="0" algn="ctr">
              <a:buNone/>
            </a:pPr>
            <a:endParaRPr lang="en-US" sz="2400"/>
          </a:p>
          <a:p>
            <a:pPr marL="0" lvl="1" indent="0" algn="ctr">
              <a:buNone/>
            </a:pPr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69152229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erson holding arrows pointing to a pink background&#10;&#10;Description automatically generated">
            <a:extLst>
              <a:ext uri="{FF2B5EF4-FFF2-40B4-BE49-F238E27FC236}">
                <a16:creationId xmlns:a16="http://schemas.microsoft.com/office/drawing/2014/main" id="{12EA5143-DC53-DFEF-F867-3303CB0B75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-3506"/>
            <a:ext cx="12196673" cy="686033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948542-FCE1-3AE6-C6C9-17975609DF70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1593832" y="3806549"/>
            <a:ext cx="9004335" cy="1485049"/>
          </a:xfrm>
          <a:noFill/>
        </p:spPr>
        <p:txBody>
          <a:bodyPr vert="horz" lIns="91440" tIns="45720" rIns="91440" bIns="45720" rtlCol="0" anchor="t">
            <a:noAutofit/>
          </a:bodyPr>
          <a:lstStyle/>
          <a:p>
            <a:pPr algn="ctr"/>
            <a:r>
              <a:rPr lang="en-US" sz="2000">
                <a:ea typeface="+mn-lt"/>
                <a:cs typeface="+mn-lt"/>
              </a:rPr>
              <a:t>Key factor in our findings that may contradict other industry’s findings:</a:t>
            </a:r>
            <a:endParaRPr lang="en-US" sz="2000"/>
          </a:p>
          <a:p>
            <a:pPr marL="285750" indent="-285750" algn="ctr">
              <a:buChar char="•"/>
            </a:pPr>
            <a:r>
              <a:rPr lang="en-US" sz="2000">
                <a:ea typeface="+mn-lt"/>
                <a:cs typeface="+mn-lt"/>
              </a:rPr>
              <a:t>Admission grade</a:t>
            </a:r>
            <a:endParaRPr lang="en-US" sz="2000"/>
          </a:p>
          <a:p>
            <a:pPr marL="285750" indent="-285750" algn="ctr">
              <a:buChar char="•"/>
            </a:pPr>
            <a:r>
              <a:rPr lang="en-US" sz="2000">
                <a:ea typeface="+mn-lt"/>
                <a:cs typeface="+mn-lt"/>
              </a:rPr>
              <a:t>Course selection</a:t>
            </a:r>
            <a:endParaRPr lang="en-US" sz="200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9FD974E-AA84-694A-DC1D-6B931EAEFCE4}"/>
              </a:ext>
            </a:extLst>
          </p:cNvPr>
          <p:cNvSpPr txBox="1"/>
          <p:nvPr/>
        </p:nvSpPr>
        <p:spPr>
          <a:xfrm>
            <a:off x="752650" y="5291926"/>
            <a:ext cx="10696047" cy="101566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000"/>
              <a:t>Reason for these discrepancies is that our data might involve a specific educational institution, region, or demographic group that behaves differently from broader industry trends. Dropout rates can vary significantly based on location or culture, or sample size.</a:t>
            </a:r>
          </a:p>
        </p:txBody>
      </p:sp>
    </p:spTree>
    <p:extLst>
      <p:ext uri="{BB962C8B-B14F-4D97-AF65-F5344CB8AC3E}">
        <p14:creationId xmlns:p14="http://schemas.microsoft.com/office/powerpoint/2010/main" val="124308744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group of people embling a puzzle&#10;&#10;Description automatically generated">
            <a:extLst>
              <a:ext uri="{FF2B5EF4-FFF2-40B4-BE49-F238E27FC236}">
                <a16:creationId xmlns:a16="http://schemas.microsoft.com/office/drawing/2014/main" id="{D1302E2A-3F7E-B0AA-624A-F4B8C0FA14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610"/>
            <a:ext cx="12181561" cy="6852780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948542-FCE1-3AE6-C6C9-17975609DF70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731395" y="3895883"/>
            <a:ext cx="5373228" cy="984456"/>
          </a:xfrm>
          <a:noFill/>
        </p:spPr>
        <p:txBody>
          <a:bodyPr vert="horz" lIns="91440" tIns="45720" rIns="91440" bIns="45720" rtlCol="0" anchor="t">
            <a:noAutofit/>
          </a:bodyPr>
          <a:lstStyle/>
          <a:p>
            <a:pPr marL="228600" indent="-228600" algn="ctr">
              <a:spcBef>
                <a:spcPts val="600"/>
              </a:spcBef>
              <a:spcAft>
                <a:spcPts val="600"/>
              </a:spcAft>
              <a:buChar char="•"/>
            </a:pPr>
            <a:r>
              <a:rPr lang="en-US" sz="2400">
                <a:ea typeface="+mn-lt"/>
                <a:cs typeface="+mn-lt"/>
              </a:rPr>
              <a:t>Educational Policy and Interventions</a:t>
            </a:r>
          </a:p>
          <a:p>
            <a:pPr marL="228600" indent="-228600" algn="ctr">
              <a:spcBef>
                <a:spcPts val="600"/>
              </a:spcBef>
              <a:spcAft>
                <a:spcPts val="600"/>
              </a:spcAft>
              <a:buChar char="•"/>
            </a:pPr>
            <a:r>
              <a:rPr lang="en-US" sz="2400">
                <a:ea typeface="+mn-lt"/>
                <a:cs typeface="+mn-lt"/>
              </a:rPr>
              <a:t>Resource Allocation</a:t>
            </a:r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9086122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0034E89-1952-5288-08A0-70A4A73BE39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8259" y="798653"/>
            <a:ext cx="5166167" cy="5289630"/>
          </a:xfrm>
          <a:solidFill>
            <a:schemeClr val="bg1">
              <a:alpha val="95000"/>
            </a:schemeClr>
          </a:solidFill>
        </p:spPr>
        <p:txBody>
          <a:bodyPr anchor="ctr"/>
          <a:lstStyle/>
          <a:p>
            <a:r>
              <a:rPr lang="en-US"/>
              <a:t>Intro</a:t>
            </a:r>
          </a:p>
        </p:txBody>
      </p:sp>
      <p:pic>
        <p:nvPicPr>
          <p:cNvPr id="1034" name="Picture 10" descr="11 Main Reasons Why Students Drop out of College - Back2College">
            <a:extLst>
              <a:ext uri="{FF2B5EF4-FFF2-40B4-BE49-F238E27FC236}">
                <a16:creationId xmlns:a16="http://schemas.microsoft.com/office/drawing/2014/main" id="{322BED22-7627-C6D6-355E-F14CB0F7A8F7}"/>
              </a:ext>
            </a:extLst>
          </p:cNvPr>
          <p:cNvPicPr>
            <a:picLocks noGrp="1" noChangeAspect="1" noChangeArrowheads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516" r="21516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A group of people in a lecture hall&#10;&#10;Description automatically generated">
            <a:extLst>
              <a:ext uri="{FF2B5EF4-FFF2-40B4-BE49-F238E27FC236}">
                <a16:creationId xmlns:a16="http://schemas.microsoft.com/office/drawing/2014/main" id="{73B85D83-8BED-AE17-22E7-FF59905A9D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7436"/>
            <a:ext cx="12192000" cy="6843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518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Content Placeholder 13" descr="A book and a sign&#10;&#10;Description automatically generated">
            <a:extLst>
              <a:ext uri="{FF2B5EF4-FFF2-40B4-BE49-F238E27FC236}">
                <a16:creationId xmlns:a16="http://schemas.microsoft.com/office/drawing/2014/main" id="{B452DD9F-95F5-F131-2C28-1A902BB546A6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-4380" y="-2672"/>
            <a:ext cx="12201525" cy="6858000"/>
          </a:xfr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4DE082-5264-A8C6-8E0C-C5A66A838B9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14087" y="2736289"/>
            <a:ext cx="4686903" cy="2799303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285750" indent="-285750">
              <a:buChar char="•"/>
            </a:pPr>
            <a:r>
              <a:rPr lang="en-US"/>
              <a:t>Data availability and quality</a:t>
            </a:r>
          </a:p>
          <a:p>
            <a:pPr marL="285750" indent="-285750">
              <a:buChar char="•"/>
            </a:pPr>
            <a:r>
              <a:rPr lang="en-US"/>
              <a:t>Model specific limitation</a:t>
            </a:r>
          </a:p>
          <a:p>
            <a:pPr marL="285750" indent="-285750">
              <a:buChar char="•"/>
            </a:pPr>
            <a:r>
              <a:rPr lang="en-US"/>
              <a:t>Generalization – too demographic specific</a:t>
            </a:r>
          </a:p>
          <a:p>
            <a:pPr marL="285750" indent="-285750">
              <a:buChar char="•"/>
            </a:pPr>
            <a:r>
              <a:rPr lang="en-US"/>
              <a:t>Unmeasured variables</a:t>
            </a:r>
          </a:p>
          <a:p>
            <a:pPr marL="285750" indent="-285750">
              <a:buChar char="•"/>
            </a:pPr>
            <a:r>
              <a:rPr lang="en-US"/>
              <a:t>Static Data - Academic performance from first and second semester (lack of dynamic data)</a:t>
            </a:r>
          </a:p>
        </p:txBody>
      </p:sp>
    </p:spTree>
    <p:extLst>
      <p:ext uri="{BB962C8B-B14F-4D97-AF65-F5344CB8AC3E}">
        <p14:creationId xmlns:p14="http://schemas.microsoft.com/office/powerpoint/2010/main" val="135665881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 descr="A blue and white illustration of people working on a computer&#10;&#10;Description automatically generated">
            <a:extLst>
              <a:ext uri="{FF2B5EF4-FFF2-40B4-BE49-F238E27FC236}">
                <a16:creationId xmlns:a16="http://schemas.microsoft.com/office/drawing/2014/main" id="{8B0315C1-6304-572C-D1C0-8A7759E0DA93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-1323" y="-2319"/>
            <a:ext cx="12187296" cy="6858000"/>
          </a:xfr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2BA737-60F8-41C7-197E-65D6FD780CE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40428" y="3643280"/>
            <a:ext cx="4018154" cy="1547060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285750" indent="-285750">
              <a:buChar char="•"/>
            </a:pPr>
            <a:r>
              <a:rPr lang="en-US"/>
              <a:t>Additional variables</a:t>
            </a:r>
          </a:p>
          <a:p>
            <a:pPr marL="285750" indent="-285750">
              <a:buChar char="•"/>
            </a:pPr>
            <a:r>
              <a:rPr lang="en-US"/>
              <a:t>Incorporate dynamic variables    (data overtime)</a:t>
            </a:r>
          </a:p>
          <a:p>
            <a:pPr marL="285750" indent="-285750">
              <a:buChar char="•"/>
            </a:pPr>
            <a:r>
              <a:rPr lang="en-US"/>
              <a:t>Clustering models (in various level) </a:t>
            </a:r>
          </a:p>
          <a:p>
            <a:pPr marL="285750" indent="-285750">
              <a:buChar char="•"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417183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 descr="A group of people with speech bubbles&#10;&#10;Description automatically generated">
            <a:extLst>
              <a:ext uri="{FF2B5EF4-FFF2-40B4-BE49-F238E27FC236}">
                <a16:creationId xmlns:a16="http://schemas.microsoft.com/office/drawing/2014/main" id="{8C038AFD-5569-5D87-4C68-21D28198FEE3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-2159" y="-2146"/>
            <a:ext cx="12191999" cy="6860337"/>
          </a:xfrm>
          <a:noFill/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948542-FCE1-3AE6-C6C9-17975609DF7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41160" y="3868712"/>
            <a:ext cx="4465959" cy="1353198"/>
          </a:xfrm>
          <a:noFill/>
        </p:spPr>
        <p:txBody>
          <a:bodyPr vert="horz" lIns="91440" tIns="45720" rIns="91440" bIns="45720" rtlCol="0" anchor="t">
            <a:normAutofit/>
          </a:bodyPr>
          <a:lstStyle/>
          <a:p>
            <a:pPr lvl="1"/>
            <a:r>
              <a:rPr lang="en-US">
                <a:ea typeface="+mn-lt"/>
                <a:cs typeface="+mn-lt"/>
              </a:rPr>
              <a:t>Complex interplay factors</a:t>
            </a:r>
            <a:endParaRPr lang="en-US"/>
          </a:p>
          <a:p>
            <a:pPr lvl="1"/>
            <a:r>
              <a:rPr lang="en-US"/>
              <a:t>Importance of targeted interventions</a:t>
            </a:r>
          </a:p>
          <a:p>
            <a:pPr lvl="1"/>
            <a:r>
              <a:rPr lang="en-US"/>
              <a:t>Value of diverse modeling techniques</a:t>
            </a:r>
          </a:p>
        </p:txBody>
      </p:sp>
    </p:spTree>
    <p:extLst>
      <p:ext uri="{BB962C8B-B14F-4D97-AF65-F5344CB8AC3E}">
        <p14:creationId xmlns:p14="http://schemas.microsoft.com/office/powerpoint/2010/main" val="253757872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BAC361-0D7A-DC05-86B5-6DD77D322F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3375" y="92597"/>
            <a:ext cx="3905250" cy="3032567"/>
          </a:xfrm>
          <a:noFill/>
        </p:spPr>
        <p:txBody>
          <a:bodyPr anchor="b"/>
          <a:lstStyle/>
          <a:p>
            <a:r>
              <a:rPr lang="en-US"/>
              <a:t>Thank you</a:t>
            </a:r>
          </a:p>
        </p:txBody>
      </p:sp>
      <p:pic>
        <p:nvPicPr>
          <p:cNvPr id="4" name="Picture 3" descr="A blue sign with yellow text&#10;&#10;Description automatically generated">
            <a:extLst>
              <a:ext uri="{FF2B5EF4-FFF2-40B4-BE49-F238E27FC236}">
                <a16:creationId xmlns:a16="http://schemas.microsoft.com/office/drawing/2014/main" id="{2FF3EDF2-39D5-FB00-D71F-87C7C2A0FD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66" y="3214"/>
            <a:ext cx="12191999" cy="68556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15671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35F5E3-2B1C-7C0A-8581-67A9052D13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6598" y="995425"/>
            <a:ext cx="8958805" cy="1077230"/>
          </a:xfrm>
          <a:noFill/>
        </p:spPr>
        <p:txBody>
          <a:bodyPr/>
          <a:lstStyle/>
          <a:p>
            <a:r>
              <a:rPr lang="en-US"/>
              <a:t>Background</a:t>
            </a:r>
          </a:p>
        </p:txBody>
      </p:sp>
      <p:pic>
        <p:nvPicPr>
          <p:cNvPr id="7" name="Content Placeholder 6" descr="A white background with blue text&#10;&#10;Description automatically generated">
            <a:extLst>
              <a:ext uri="{FF2B5EF4-FFF2-40B4-BE49-F238E27FC236}">
                <a16:creationId xmlns:a16="http://schemas.microsoft.com/office/drawing/2014/main" id="{055CC517-9CB3-7281-3A9F-9A3011F29593}"/>
              </a:ext>
            </a:extLst>
          </p:cNvPr>
          <p:cNvPicPr>
            <a:picLocks noGrp="1" noChangeAspect="1"/>
          </p:cNvPicPr>
          <p:nvPr>
            <p:ph sz="half" idx="14"/>
          </p:nvPr>
        </p:nvPicPr>
        <p:blipFill>
          <a:blip r:embed="rId2"/>
          <a:stretch>
            <a:fillRect/>
          </a:stretch>
        </p:blipFill>
        <p:spPr>
          <a:xfrm>
            <a:off x="-2603" y="-364"/>
            <a:ext cx="12187683" cy="6856553"/>
          </a:xfrm>
        </p:spPr>
      </p:pic>
    </p:spTree>
    <p:extLst>
      <p:ext uri="{BB962C8B-B14F-4D97-AF65-F5344CB8AC3E}">
        <p14:creationId xmlns:p14="http://schemas.microsoft.com/office/powerpoint/2010/main" val="16674620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35F5E3-2B1C-7C0A-8581-67A9052D13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6598" y="995425"/>
            <a:ext cx="8958805" cy="1077230"/>
          </a:xfrm>
          <a:noFill/>
        </p:spPr>
        <p:txBody>
          <a:bodyPr/>
          <a:lstStyle/>
          <a:p>
            <a:r>
              <a:rPr lang="en-US"/>
              <a:t>Problem</a:t>
            </a:r>
          </a:p>
        </p:txBody>
      </p:sp>
      <p:pic>
        <p:nvPicPr>
          <p:cNvPr id="4" name="Content Placeholder 3" descr="A person holding her head with her hands&#10;&#10;Description automatically generated">
            <a:extLst>
              <a:ext uri="{FF2B5EF4-FFF2-40B4-BE49-F238E27FC236}">
                <a16:creationId xmlns:a16="http://schemas.microsoft.com/office/drawing/2014/main" id="{5B05B289-99AA-CA7C-5F19-485F036A2442}"/>
              </a:ext>
            </a:extLst>
          </p:cNvPr>
          <p:cNvPicPr>
            <a:picLocks noGrp="1" noChangeAspect="1"/>
          </p:cNvPicPr>
          <p:nvPr>
            <p:ph sz="half" idx="14"/>
          </p:nvPr>
        </p:nvPicPr>
        <p:blipFill>
          <a:blip r:embed="rId2"/>
          <a:stretch>
            <a:fillRect/>
          </a:stretch>
        </p:blipFill>
        <p:spPr>
          <a:xfrm>
            <a:off x="924" y="1017"/>
            <a:ext cx="12190152" cy="6856043"/>
          </a:xfrm>
          <a:noFill/>
        </p:spPr>
      </p:pic>
    </p:spTree>
    <p:extLst>
      <p:ext uri="{BB962C8B-B14F-4D97-AF65-F5344CB8AC3E}">
        <p14:creationId xmlns:p14="http://schemas.microsoft.com/office/powerpoint/2010/main" val="26537906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white rectangular sign with blue text&#10;&#10;Description automatically generated">
            <a:extLst>
              <a:ext uri="{FF2B5EF4-FFF2-40B4-BE49-F238E27FC236}">
                <a16:creationId xmlns:a16="http://schemas.microsoft.com/office/drawing/2014/main" id="{D3CEFD40-B110-2549-2938-BC99371367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70"/>
            <a:ext cx="12182649" cy="6850986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6A33159-D030-2F82-A142-F75940728319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2275227" y="1976934"/>
            <a:ext cx="7641544" cy="4214890"/>
          </a:xfrm>
          <a:noFill/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sz="1400" b="1"/>
              <a:t>Dataset Origin</a:t>
            </a:r>
            <a:r>
              <a:rPr lang="en-US" sz="1400"/>
              <a:t>: </a:t>
            </a:r>
          </a:p>
          <a:p>
            <a:pPr marL="514350" lvl="1" indent="-285750">
              <a:buChar char="•"/>
            </a:pPr>
            <a:r>
              <a:rPr lang="en-US" sz="1400"/>
              <a:t>UCI Machine Learning Repository</a:t>
            </a:r>
          </a:p>
          <a:p>
            <a:pPr marL="514350" lvl="1">
              <a:buFont typeface="Arial"/>
              <a:buChar char="•"/>
            </a:pPr>
            <a:r>
              <a:rPr lang="en-US" sz="1400">
                <a:hlinkClick r:id="rId3"/>
              </a:rPr>
              <a:t>https://archive.ics.uci.edu/dataset/697/predict+students+dropout+and+academic+success</a:t>
            </a:r>
            <a:endParaRPr lang="en-US" sz="1400"/>
          </a:p>
          <a:p>
            <a:r>
              <a:rPr lang="en-US" sz="1400" b="1"/>
              <a:t>Scope of Data</a:t>
            </a:r>
            <a:r>
              <a:rPr lang="en-US" sz="1400"/>
              <a:t>:</a:t>
            </a:r>
          </a:p>
          <a:p>
            <a:pPr marL="514350" lvl="1" indent="-285750">
              <a:buFont typeface="Arial"/>
              <a:buChar char="•"/>
            </a:pPr>
            <a:r>
              <a:rPr lang="en-US" sz="1400"/>
              <a:t>Focuses on student demographics, academic performance, and socio-economic context.</a:t>
            </a:r>
          </a:p>
          <a:p>
            <a:pPr marL="514350" lvl="1" indent="-285750">
              <a:buFont typeface="Arial"/>
              <a:buChar char="•"/>
            </a:pPr>
            <a:r>
              <a:rPr lang="en-US" sz="1400"/>
              <a:t>Includes factors such as grades, parental education, and national economic indicators.</a:t>
            </a:r>
          </a:p>
          <a:p>
            <a:r>
              <a:rPr lang="en-US" sz="1400" b="1"/>
              <a:t>Target Variable</a:t>
            </a:r>
            <a:r>
              <a:rPr lang="en-US" sz="1400"/>
              <a:t>: </a:t>
            </a:r>
          </a:p>
          <a:p>
            <a:pPr marL="514350" lvl="1" indent="-285750">
              <a:buChar char="•"/>
            </a:pPr>
            <a:r>
              <a:rPr lang="en-US" sz="1400"/>
              <a:t>Predicts outcomes: Dropout, Graduate, or Enrolled.</a:t>
            </a:r>
          </a:p>
          <a:p>
            <a:r>
              <a:rPr lang="en-US" sz="1400" b="1"/>
              <a:t>Sample Features</a:t>
            </a:r>
            <a:r>
              <a:rPr lang="en-US" sz="1400"/>
              <a:t>:</a:t>
            </a:r>
          </a:p>
          <a:p>
            <a:pPr marL="514350" lvl="1">
              <a:buFont typeface="Arial"/>
              <a:buChar char="•"/>
            </a:pPr>
            <a:r>
              <a:rPr lang="en-US" sz="1400"/>
              <a:t>Categorical: Marital Status, Course, Nationality, Educational Needs.</a:t>
            </a:r>
          </a:p>
          <a:p>
            <a:pPr marL="514350" lvl="1">
              <a:buFont typeface="Arial"/>
              <a:buChar char="•"/>
            </a:pPr>
            <a:r>
              <a:rPr lang="en-US" sz="1400"/>
              <a:t>Continuous: Admission Grade, Previous Qualification Grade, GDP, Unemployment Rate.</a:t>
            </a:r>
            <a:endParaRPr lang="en-US" sz="1400">
              <a:latin typeface="Calibri"/>
              <a:ea typeface="Calibri"/>
              <a:cs typeface="Calibri"/>
            </a:endParaRPr>
          </a:p>
          <a:p>
            <a:endParaRPr lang="en-US" sz="1600">
              <a:latin typeface="Calibri"/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0899646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15F989-F06D-FE74-AF29-6BD8C7145B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51579" y="2888291"/>
            <a:ext cx="8958805" cy="1077230"/>
          </a:xfrm>
        </p:spPr>
        <p:txBody>
          <a:bodyPr/>
          <a:lstStyle/>
          <a:p>
            <a:r>
              <a:rPr lang="en-US"/>
              <a:t>Descriptive Statistics of Demographics</a:t>
            </a:r>
          </a:p>
        </p:txBody>
      </p:sp>
      <p:pic>
        <p:nvPicPr>
          <p:cNvPr id="5" name="Picture 4" descr="A close-up of a graph&#10;&#10;Description automatically generated">
            <a:extLst>
              <a:ext uri="{FF2B5EF4-FFF2-40B4-BE49-F238E27FC236}">
                <a16:creationId xmlns:a16="http://schemas.microsoft.com/office/drawing/2014/main" id="{DF03AEE7-B817-2856-CA82-64F3D070C9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69"/>
            <a:ext cx="12191999" cy="68556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11573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C32CD31-4D8B-A3AD-6516-B338DC25FC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32CD31-4D8B-A3AD-6516-B338DC25FC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D49C160D-B623-DBEE-7B1F-BD730419F88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2571" y="2454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58680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close-up of a chart&#10;&#10;Description automatically generated">
            <a:extLst>
              <a:ext uri="{FF2B5EF4-FFF2-40B4-BE49-F238E27FC236}">
                <a16:creationId xmlns:a16="http://schemas.microsoft.com/office/drawing/2014/main" id="{26AE3232-620A-00D9-2E6D-EA467F980B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07" y="111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23818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">
  <a:themeElements>
    <a:clrScheme name="TM10081922">
      <a:dk1>
        <a:srgbClr val="000000"/>
      </a:dk1>
      <a:lt1>
        <a:srgbClr val="FFFFFF"/>
      </a:lt1>
      <a:dk2>
        <a:srgbClr val="435369"/>
      </a:dk2>
      <a:lt2>
        <a:srgbClr val="E7E5E5"/>
      </a:lt2>
      <a:accent1>
        <a:srgbClr val="F2E5D8"/>
      </a:accent1>
      <a:accent2>
        <a:srgbClr val="8C3A27"/>
      </a:accent2>
      <a:accent3>
        <a:srgbClr val="F0C8BC"/>
      </a:accent3>
      <a:accent4>
        <a:srgbClr val="D9A390"/>
      </a:accent4>
      <a:accent5>
        <a:srgbClr val="FFF6F4"/>
      </a:accent5>
      <a:accent6>
        <a:srgbClr val="183F1E"/>
      </a:accent6>
      <a:hlink>
        <a:srgbClr val="467886"/>
      </a:hlink>
      <a:folHlink>
        <a:srgbClr val="96607D"/>
      </a:folHlink>
    </a:clrScheme>
    <a:fontScheme name="Custom 100">
      <a:majorFont>
        <a:latin typeface="Tisa Offc Serif Pro"/>
        <a:ea typeface=""/>
        <a:cs typeface=""/>
      </a:majorFont>
      <a:minorFont>
        <a:latin typeface="Quire Sans Pr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TM10081922_Win32_SL_V4" id="{CCBED28E-3218-45D8-920F-A2D91CCE8680}" vid="{A1C6549C-A185-4AC8-97B3-DFFFA735557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28" ma:contentTypeDescription="Create a new document." ma:contentTypeScope="" ma:versionID="60f5a4f2d2b0abadcf532d48ebf9cb71">
  <xsd:schema xmlns:xsd="http://www.w3.org/2001/XMLSchema" xmlns:xs="http://www.w3.org/2001/XMLSchema" xmlns:p="http://schemas.microsoft.com/office/2006/metadata/properties" xmlns:ns1="http://schemas.microsoft.com/sharepoint/v3" xmlns:ns2="71af3243-3dd4-4a8d-8c0d-dd76da1f02a5" xmlns:ns3="16c05727-aa75-4e4a-9b5f-8a80a1165891" xmlns:ns4="230e9df3-be65-4c73-a93b-d1236ebd677e" targetNamespace="http://schemas.microsoft.com/office/2006/metadata/properties" ma:root="true" ma:fieldsID="7dd78129e6a1811f84807ad11c651531" ns1:_="" ns2:_="" ns3:_="" ns4:_="">
    <xsd:import namespace="http://schemas.microsoft.com/sharepoint/v3"/>
    <xsd:import namespace="71af3243-3dd4-4a8d-8c0d-dd76da1f02a5"/>
    <xsd:import namespace="16c05727-aa75-4e4a-9b5f-8a80a1165891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Status" minOccurs="0"/>
                <xsd:element ref="ns2:Image" minOccurs="0"/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1:_ip_UnifiedCompliancePolicyProperties" minOccurs="0"/>
                <xsd:element ref="ns1:_ip_UnifiedCompliancePolicyUIAction" minOccurs="0"/>
                <xsd:element ref="ns4:TaxCatchAll" minOccurs="0"/>
                <xsd:element ref="ns2:ImageTagsTaxHTField" minOccurs="0"/>
                <xsd:element ref="ns2:MediaServiceLocation" minOccurs="0"/>
                <xsd:element ref="ns2:MediaLengthInSeconds" minOccurs="0"/>
                <xsd:element ref="ns2:Background" minOccurs="0"/>
                <xsd:element ref="ns2:MediaServiceSearchProperties" minOccurs="0"/>
                <xsd:element ref="ns2:MediaServiceDocTags" minOccurs="0"/>
                <xsd:element ref="ns2:MediaServiceObjectDetectorVersions" minOccurs="0"/>
                <xsd:element ref="ns2:MediaServiceSystem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0" nillable="true" ma:displayName="Unified Compliance Policy Properties" ma:hidden="true" ma:internalName="_ip_UnifiedCompliancePolicyProperties" ma:readOnly="false">
      <xsd:simpleType>
        <xsd:restriction base="dms:Note"/>
      </xsd:simpleType>
    </xsd:element>
    <xsd:element name="_ip_UnifiedCompliancePolicyUIAction" ma:index="21" nillable="true" ma:displayName="Unified Compliance Policy UI Action" ma:hidden="true" ma:internalName="_ip_UnifiedCompliancePolicyUIAction" ma:readOnly="fals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Status" ma:index="2" nillable="true" ma:displayName="Status" ma:default="Not started" ma:format="Dropdown" ma:internalName="Status" ma:readOnly="false">
      <xsd:simpleType>
        <xsd:restriction base="dms:Choice">
          <xsd:enumeration value="Not started"/>
          <xsd:enumeration value="In Progress"/>
          <xsd:enumeration value="Completed"/>
        </xsd:restriction>
      </xsd:simpleType>
    </xsd:element>
    <xsd:element name="Image" ma:index="3" nillable="true" ma:displayName="Image" ma:format="Image" ma:internalName="Image" ma:readOnly="fals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hidden="true" ma:internalName="MediaServiceOCR" ma:readOnly="true">
      <xsd:simpleType>
        <xsd:restriction base="dms:Note"/>
      </xsd:simpleType>
    </xsd:element>
    <xsd:element name="MediaServiceAutoTags" ma:index="11" nillable="true" ma:displayName="MediaServiceAutoTags" ma:hidden="true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hidden="true" ma:internalName="MediaServiceKeyPoints" ma:readOnly="false">
      <xsd:simpleType>
        <xsd:restriction base="dms:Note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ImageTagsTaxHTField" ma:index="25" nillable="true" ma:taxonomy="true" ma:internalName="ImageTagsTaxHTField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6" nillable="true" ma:displayName="Location" ma:hidden="true" ma:internalName="MediaServiceLocation" ma:readOnly="true">
      <xsd:simpleType>
        <xsd:restriction base="dms:Text"/>
      </xsd:simpleType>
    </xsd:element>
    <xsd:element name="MediaLengthInSeconds" ma:index="27" nillable="true" ma:displayName="MediaLengthInSeconds" ma:hidden="true" ma:internalName="MediaLengthInSeconds" ma:readOnly="true">
      <xsd:simpleType>
        <xsd:restriction base="dms:Unknown"/>
      </xsd:simpleType>
    </xsd:element>
    <xsd:element name="Background" ma:index="28" nillable="true" ma:displayName="Background" ma:default="0" ma:format="Dropdown" ma:internalName="Background">
      <xsd:simpleType>
        <xsd:restriction base="dms:Boolean"/>
      </xsd:simpleType>
    </xsd:element>
    <xsd:element name="MediaServiceSearchProperties" ma:index="29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ocTags" ma:index="30" nillable="true" ma:displayName="MediaServiceDocTags" ma:hidden="true" ma:internalName="MediaServiceDocTags" ma:readOnly="true">
      <xsd:simpleType>
        <xsd:restriction base="dms:Note"/>
      </xsd:simpleType>
    </xsd:element>
    <xsd:element name="MediaServiceObjectDetectorVersions" ma:index="31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ystemTags" ma:index="32" nillable="true" ma:displayName="MediaServiceSystemTags" ma:hidden="true" ma:internalName="MediaServiceSystemTag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hidden="true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hidden="true" ma:internalName="SharedWithDetail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3f6bfcbc-3db3-4ae6-bd76-326f0798ad28}" ma:internalName="TaxCatchAll" ma:readOnly="false" ma:showField="CatchAllData" ma:web="16c05727-aa75-4e4a-9b5f-8a80a116589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Image xmlns="71af3243-3dd4-4a8d-8c0d-dd76da1f02a5">
      <Url xsi:nil="true"/>
      <Description xsi:nil="true"/>
    </Image>
    <Status xmlns="71af3243-3dd4-4a8d-8c0d-dd76da1f02a5">Not started</Status>
    <Background xmlns="71af3243-3dd4-4a8d-8c0d-dd76da1f02a5">false</Background>
    <_ip_UnifiedCompliancePolicyProperties xmlns="http://schemas.microsoft.com/sharepoint/v3" xsi:nil="true"/>
    <ImageTagsTaxHTField xmlns="71af3243-3dd4-4a8d-8c0d-dd76da1f02a5">
      <Terms xmlns="http://schemas.microsoft.com/office/infopath/2007/PartnerControls"/>
    </ImageTagsTaxHTField>
    <TaxCatchAll xmlns="230e9df3-be65-4c73-a93b-d1236ebd677e" xsi:nil="true"/>
    <MediaServiceKeyPoints xmlns="71af3243-3dd4-4a8d-8c0d-dd76da1f02a5" xsi:nil="true"/>
  </documentManagement>
</p:properties>
</file>

<file path=customXml/itemProps1.xml><?xml version="1.0" encoding="utf-8"?>
<ds:datastoreItem xmlns:ds="http://schemas.openxmlformats.org/officeDocument/2006/customXml" ds:itemID="{FB2D96AF-4C9E-4DD0-A165-CD22BB87D09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AF1DBB7-4BA2-49E3-BEC8-A38406CA50E9}">
  <ds:schemaRefs>
    <ds:schemaRef ds:uri="16c05727-aa75-4e4a-9b5f-8a80a1165891"/>
    <ds:schemaRef ds:uri="230e9df3-be65-4c73-a93b-d1236ebd677e"/>
    <ds:schemaRef ds:uri="71af3243-3dd4-4a8d-8c0d-dd76da1f02a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AA349358-775F-4CF9-9AE6-33A7901637EF}">
  <ds:schemaRefs>
    <ds:schemaRef ds:uri="230e9df3-be65-4c73-a93b-d1236ebd677e"/>
    <ds:schemaRef ds:uri="71af3243-3dd4-4a8d-8c0d-dd76da1f02a5"/>
    <ds:schemaRef ds:uri="http://schemas.microsoft.com/office/2006/metadata/properties"/>
    <ds:schemaRef ds:uri="http://schemas.microsoft.com/office/infopath/2007/PartnerControls"/>
    <ds:schemaRef ds:uri="http://schemas.microsoft.com/sharepoint/v3"/>
  </ds:schemaRefs>
</ds:datastoreItem>
</file>

<file path=docMetadata/LabelInfo.xml><?xml version="1.0" encoding="utf-8"?>
<clbl:labelList xmlns:clbl="http://schemas.microsoft.com/office/2020/mipLabelMetadata"/>
</file>

<file path=docProps/app.xml><?xml version="1.0" encoding="utf-8"?>
<Properties xmlns="http://schemas.openxmlformats.org/officeDocument/2006/extended-properties" xmlns:vt="http://schemas.openxmlformats.org/officeDocument/2006/docPropsVTypes">
  <Template>{6AD2CAF4-F3A6-4D9F-AD54-08D7642D79B5}tf10081922_win32</Template>
  <Application>Microsoft Office PowerPoint</Application>
  <PresentationFormat>Widescreen</PresentationFormat>
  <Slides>33</Slides>
  <Notes>2</Notes>
  <HiddenSlides>0</HiddenSlide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33</vt:i4>
      </vt:variant>
    </vt:vector>
  </HeadingPairs>
  <TitlesOfParts>
    <vt:vector size="35" baseType="lpstr">
      <vt:lpstr>Custom</vt:lpstr>
      <vt:lpstr>Office Theme</vt:lpstr>
      <vt:lpstr>Predict Student Dropouts </vt:lpstr>
      <vt:lpstr>Agenda</vt:lpstr>
      <vt:lpstr>Intro</vt:lpstr>
      <vt:lpstr>Background</vt:lpstr>
      <vt:lpstr>Problem</vt:lpstr>
      <vt:lpstr>PowerPoint Presentation</vt:lpstr>
      <vt:lpstr>Descriptive Statistics of Demographics</vt:lpstr>
      <vt:lpstr>PowerPoint Presentation</vt:lpstr>
      <vt:lpstr>PowerPoint Presentation</vt:lpstr>
      <vt:lpstr>Data Preprocessing</vt:lpstr>
      <vt:lpstr>PowerPoint Presentation</vt:lpstr>
      <vt:lpstr> </vt:lpstr>
      <vt:lpstr> </vt:lpstr>
      <vt:lpstr>PowerPoint Presentation</vt:lpstr>
      <vt:lpstr>PowerPoint Presentation</vt:lpstr>
      <vt:lpstr> </vt:lpstr>
      <vt:lpstr>Modeling and Analysi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Nhu Khue Nguyen Khac</dc:creator>
  <cp:revision>4</cp:revision>
  <dcterms:created xsi:type="dcterms:W3CDTF">2024-11-21T16:32:46Z</dcterms:created>
  <dcterms:modified xsi:type="dcterms:W3CDTF">2024-12-05T01:58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</Properties>
</file>